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tags/tag5.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tags/tag6.xml" ContentType="application/vnd.openxmlformats-officedocument.presentationml.tags+xml"/>
  <Override PartName="/ppt/notesSlides/notesSlide14.xml" ContentType="application/vnd.openxmlformats-officedocument.presentationml.notesSlide+xml"/>
  <Override PartName="/ppt/charts/chart5.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24"/>
  </p:notesMasterIdLst>
  <p:handoutMasterIdLst>
    <p:handoutMasterId r:id="rId25"/>
  </p:handoutMasterIdLst>
  <p:sldIdLst>
    <p:sldId id="267" r:id="rId2"/>
    <p:sldId id="2147480237" r:id="rId3"/>
    <p:sldId id="2147475288" r:id="rId4"/>
    <p:sldId id="2147480248" r:id="rId5"/>
    <p:sldId id="2147470635" r:id="rId6"/>
    <p:sldId id="4297" r:id="rId7"/>
    <p:sldId id="4309" r:id="rId8"/>
    <p:sldId id="4307" r:id="rId9"/>
    <p:sldId id="2147480240" r:id="rId10"/>
    <p:sldId id="2147480241" r:id="rId11"/>
    <p:sldId id="2147480243" r:id="rId12"/>
    <p:sldId id="2147480244" r:id="rId13"/>
    <p:sldId id="2147480245" r:id="rId14"/>
    <p:sldId id="2147480246" r:id="rId15"/>
    <p:sldId id="2147480247" r:id="rId16"/>
    <p:sldId id="2147480232" r:id="rId17"/>
    <p:sldId id="2147475976" r:id="rId18"/>
    <p:sldId id="2147475219" r:id="rId19"/>
    <p:sldId id="2147480249" r:id="rId20"/>
    <p:sldId id="2147475979" r:id="rId21"/>
    <p:sldId id="2147475941" r:id="rId22"/>
    <p:sldId id="268" r:id="rId23"/>
  </p:sldIdLst>
  <p:sldSz cx="12192000" cy="6858000"/>
  <p:notesSz cx="6858000" cy="9144000"/>
  <p:embeddedFontLst>
    <p:embeddedFont>
      <p:font typeface="Avenir" panose="02000503020000020003" pitchFamily="2" charset="0"/>
      <p:regular r:id="rId26"/>
      <p:italic r:id="rId27"/>
    </p:embeddedFont>
    <p:embeddedFont>
      <p:font typeface="MetricHPE" panose="020B0503030202060203" pitchFamily="34" charset="77"/>
      <p:regular r:id="rId28"/>
      <p:bold r:id="rId29"/>
      <p:italic r:id="rId30"/>
      <p:boldItalic r:id="rId31"/>
    </p:embeddedFont>
    <p:embeddedFont>
      <p:font typeface="MetricHPE Black" panose="020B0803030202060203" pitchFamily="34" charset="77"/>
      <p:bold r:id="rId32"/>
      <p:italic r:id="rId33"/>
      <p:boldItalic r:id="rId34"/>
    </p:embeddedFont>
    <p:embeddedFont>
      <p:font typeface="MetricHPE Light" panose="020B0303030202060203" pitchFamily="34" charset="77"/>
      <p:regular r:id="rId35"/>
      <p:bold r:id="rId36"/>
      <p:italic r:id="rId37"/>
      <p:boldItalic r:id="rId38"/>
    </p:embeddedFont>
    <p:embeddedFont>
      <p:font typeface="Open Sans" panose="020B0606030504020204" pitchFamily="34" charset="0"/>
      <p:regular r:id="rId39"/>
      <p:bold r:id="rId40"/>
      <p:italic r:id="rId41"/>
      <p:boldItalic r:id="rId42"/>
    </p:embeddedFont>
    <p:embeddedFont>
      <p:font typeface="Open Sans ExtraBold" panose="020B0606030504020204" pitchFamily="34" charset="0"/>
      <p:bold r:id="rId43"/>
      <p:italic r:id="rId44"/>
      <p:boldItalic r:id="rId45"/>
    </p:embeddedFont>
    <p:embeddedFont>
      <p:font typeface="Open Sans ExtraBold" panose="020B0606030504020204" pitchFamily="34" charset="0"/>
      <p:bold r:id="rId43"/>
      <p:italic r:id="rId44"/>
      <p:boldItalic r:id="rId45"/>
    </p:embeddedFont>
    <p:embeddedFont>
      <p:font typeface="Open Sans Light" panose="020B0306030504020204" pitchFamily="34" charset="0"/>
      <p:regular r:id="rId46"/>
      <p:italic r:id="rId47"/>
    </p:embeddedFont>
  </p:embeddedFontLst>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D5CB86C4-1AD9-4D56-A689-AEC7780B6B9A}">
          <p14:sldIdLst>
            <p14:sldId id="267"/>
            <p14:sldId id="2147480237"/>
            <p14:sldId id="2147475288"/>
            <p14:sldId id="2147480248"/>
            <p14:sldId id="2147470635"/>
            <p14:sldId id="4297"/>
            <p14:sldId id="4309"/>
            <p14:sldId id="4307"/>
            <p14:sldId id="2147480240"/>
            <p14:sldId id="2147480241"/>
            <p14:sldId id="2147480243"/>
            <p14:sldId id="2147480244"/>
            <p14:sldId id="2147480245"/>
            <p14:sldId id="2147480246"/>
            <p14:sldId id="2147480247"/>
            <p14:sldId id="2147480232"/>
            <p14:sldId id="2147475976"/>
            <p14:sldId id="2147475219"/>
            <p14:sldId id="2147480249"/>
            <p14:sldId id="2147475979"/>
            <p14:sldId id="2147475941"/>
            <p14:sldId id="268"/>
          </p14:sldIdLst>
        </p14:section>
      </p14:sectionLst>
    </p:ext>
    <p:ext uri="{EFAFB233-063F-42B5-8137-9DF3F51BA10A}">
      <p15:sldGuideLst xmlns:p15="http://schemas.microsoft.com/office/powerpoint/2012/main">
        <p15:guide id="1" orient="horz" pos="2183" userDrawn="1">
          <p15:clr>
            <a:srgbClr val="A4A3A4"/>
          </p15:clr>
        </p15:guide>
        <p15:guide id="4" orient="horz" pos="3840" userDrawn="1">
          <p15:clr>
            <a:srgbClr val="A4A3A4"/>
          </p15:clr>
        </p15:guide>
        <p15:guide id="5" pos="3863" userDrawn="1">
          <p15:clr>
            <a:srgbClr val="A4A3A4"/>
          </p15:clr>
        </p15:guide>
        <p15:guide id="7" pos="7287" userDrawn="1">
          <p15:clr>
            <a:srgbClr val="A4A3A4"/>
          </p15:clr>
        </p15:guide>
        <p15:guide id="8" orient="horz" pos="958" userDrawn="1">
          <p15:clr>
            <a:srgbClr val="A4A3A4"/>
          </p15:clr>
        </p15:guide>
        <p15:guide id="9" orient="horz" pos="104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13C0"/>
    <a:srgbClr val="00DCC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dk1"/>
            </a:lnRef>
          </a:top>
          <a:bottom>
            <a:lnRef idx="1">
              <a:schemeClr val="dk1"/>
            </a:lnRef>
          </a:bottom>
        </a:tcBdr>
      </a:tcStyle>
    </a:band1H>
    <a:band1V>
      <a:tcStyle>
        <a:tcBdr>
          <a:left>
            <a:lnRef idx="1">
              <a:schemeClr val="dk1"/>
            </a:lnRef>
          </a:left>
          <a:right>
            <a:lnRef idx="1">
              <a:schemeClr val="dk1"/>
            </a:lnRef>
          </a:right>
        </a:tcBdr>
      </a:tcStyle>
    </a:band1V>
    <a:band2V>
      <a:tcStyle>
        <a:tcBdr>
          <a:left>
            <a:lnRef idx="1">
              <a:schemeClr val="dk1"/>
            </a:lnRef>
          </a:left>
          <a:right>
            <a:lnRef idx="1">
              <a:schemeClr val="dk1"/>
            </a:lnRef>
          </a:right>
        </a:tcBdr>
      </a:tcStyle>
    </a:band2V>
    <a:lastCol>
      <a:tcTxStyle b="on"/>
      <a:tcStyle>
        <a:tcBdr/>
      </a:tcStyle>
    </a:lastCol>
    <a:firstCol>
      <a:tcTxStyle b="on"/>
      <a:tcStyle>
        <a:tcBdr/>
      </a:tcStyle>
    </a:firstCol>
    <a:lastRow>
      <a:tcTxStyle b="on"/>
      <a:tcStyle>
        <a:tcBdr>
          <a:top>
            <a:ln w="50800" cmpd="dbl">
              <a:solidFill>
                <a:schemeClr val="dk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99" autoAdjust="0"/>
    <p:restoredTop sz="96327" autoAdjust="0"/>
  </p:normalViewPr>
  <p:slideViewPr>
    <p:cSldViewPr snapToGrid="0">
      <p:cViewPr varScale="1">
        <p:scale>
          <a:sx n="128" d="100"/>
          <a:sy n="128" d="100"/>
        </p:scale>
        <p:origin x="600" y="176"/>
      </p:cViewPr>
      <p:guideLst>
        <p:guide orient="horz" pos="2183"/>
        <p:guide orient="horz" pos="3840"/>
        <p:guide pos="3863"/>
        <p:guide pos="7287"/>
        <p:guide orient="horz" pos="958"/>
        <p:guide orient="horz" pos="1049"/>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87" d="100"/>
          <a:sy n="87" d="100"/>
        </p:scale>
        <p:origin x="3276"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font" Target="fonts/font22.fntdata"/><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4.fntdata"/><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font" Target="fonts/font19.fntdata"/><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20" Type="http://schemas.openxmlformats.org/officeDocument/2006/relationships/slide" Target="slides/slide19.xml"/><Relationship Id="rId41"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legend>
      <c:legendPos val="r"/>
      <c:overlay val="0"/>
    </c:legend>
    <c:plotVisOnly val="1"/>
    <c:dispBlanksAs val="gap"/>
    <c:showDLblsOverMax val="0"/>
  </c:chart>
  <c:txPr>
    <a:bodyPr/>
    <a:lstStyle/>
    <a:p>
      <a:pPr>
        <a:defRPr sz="1800">
          <a:solidFill>
            <a:schemeClr val="tx1"/>
          </a:solidFill>
        </a:defRPr>
      </a:pPr>
      <a:endParaRPr lang="en-P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legend>
      <c:legendPos val="r"/>
      <c:overlay val="0"/>
    </c:legend>
    <c:plotVisOnly val="1"/>
    <c:dispBlanksAs val="gap"/>
    <c:showDLblsOverMax val="0"/>
  </c:chart>
  <c:txPr>
    <a:bodyPr/>
    <a:lstStyle/>
    <a:p>
      <a:pPr>
        <a:defRPr sz="1800">
          <a:solidFill>
            <a:schemeClr val="tx1"/>
          </a:solidFill>
        </a:defRPr>
      </a:pPr>
      <a:endParaRPr lang="en-P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legend>
      <c:legendPos val="r"/>
      <c:overlay val="0"/>
    </c:legend>
    <c:plotVisOnly val="1"/>
    <c:dispBlanksAs val="gap"/>
    <c:showDLblsOverMax val="0"/>
  </c:chart>
  <c:txPr>
    <a:bodyPr/>
    <a:lstStyle/>
    <a:p>
      <a:pPr>
        <a:defRPr sz="1800">
          <a:solidFill>
            <a:schemeClr val="tx1"/>
          </a:solidFill>
        </a:defRPr>
      </a:pPr>
      <a:endParaRPr lang="en-P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latin typeface="MetricHPE" panose="020B0503030202060203" pitchFamily="34" charset="-18"/>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18"/>
              </a:rPr>
              <a:t>6/18/24</a:t>
            </a:fld>
            <a:endParaRPr dirty="0">
              <a:latin typeface="MetricHPE" panose="020B0503030202060203" pitchFamily="34" charset="-18"/>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latin typeface="MetricHPE" panose="020B0503030202060203" pitchFamily="34" charset="-18"/>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18"/>
              </a:rPr>
              <a:t>‹#›</a:t>
            </a:fld>
            <a:endParaRPr dirty="0">
              <a:latin typeface="MetricHPE" panose="020B0503030202060203" pitchFamily="34" charset="-18"/>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18"/>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18"/>
              </a:defRPr>
            </a:lvl1pPr>
          </a:lstStyle>
          <a:p>
            <a:fld id="{5BFEAE42-E3FE-4405-B7FC-4425D05B92A0}" type="slidenum">
              <a:rPr lang="en-US" smtClean="0"/>
              <a:pPr/>
              <a:t>‹#›</a:t>
            </a:fld>
            <a:endParaRPr lang="en-US" dirty="0"/>
          </a:p>
        </p:txBody>
      </p:sp>
      <p:sp>
        <p:nvSpPr>
          <p:cNvPr id="3" name="Header Placeholder 2">
            <a:extLst>
              <a:ext uri="{FF2B5EF4-FFF2-40B4-BE49-F238E27FC236}">
                <a16:creationId xmlns:a16="http://schemas.microsoft.com/office/drawing/2014/main" id="{1ABBFA18-F005-4413-AD3D-C41E73AAEA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18"/>
        <a:ea typeface="+mn-ea"/>
        <a:cs typeface="+mn-cs"/>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18"/>
        <a:ea typeface="+mn-ea"/>
        <a:cs typeface="+mn-cs"/>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18"/>
        <a:ea typeface="+mn-ea"/>
        <a:cs typeface="+mn-cs"/>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18"/>
        <a:ea typeface="+mn-ea"/>
        <a:cs typeface="+mn-cs"/>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1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i="0" kern="1200" dirty="0">
                <a:solidFill>
                  <a:schemeClr val="tx1"/>
                </a:solidFill>
                <a:effectLst/>
                <a:latin typeface="MetricHPE" panose="020B0503030202060203" pitchFamily="34" charset="0"/>
                <a:ea typeface="+mn-ea"/>
                <a:cs typeface="+mn-cs"/>
              </a:rPr>
              <a:t>W </a:t>
            </a:r>
            <a:r>
              <a:rPr lang="en-US" sz="1100" i="0" kern="1200" dirty="0" err="1">
                <a:solidFill>
                  <a:schemeClr val="tx1"/>
                </a:solidFill>
                <a:effectLst/>
                <a:latin typeface="MetricHPE" panose="020B0503030202060203" pitchFamily="34" charset="0"/>
                <a:ea typeface="+mn-ea"/>
                <a:cs typeface="+mn-cs"/>
              </a:rPr>
              <a:t>skrócie</a:t>
            </a:r>
            <a:r>
              <a:rPr lang="en-US" sz="1100" i="0" kern="1200" dirty="0">
                <a:solidFill>
                  <a:schemeClr val="tx1"/>
                </a:solidFill>
                <a:effectLst/>
                <a:latin typeface="MetricHPE" panose="020B0503030202060203" pitchFamily="34" charset="0"/>
                <a:ea typeface="+mn-ea"/>
                <a:cs typeface="+mn-cs"/>
              </a:rPr>
              <a:t>:</a:t>
            </a:r>
          </a:p>
          <a:p>
            <a:r>
              <a:rPr lang="en-US" sz="1100" i="0" kern="1200" dirty="0" err="1">
                <a:solidFill>
                  <a:schemeClr val="tx1"/>
                </a:solidFill>
                <a:effectLst/>
                <a:latin typeface="MetricHPE" panose="020B0503030202060203" pitchFamily="34" charset="0"/>
                <a:ea typeface="+mn-ea"/>
                <a:cs typeface="+mn-cs"/>
              </a:rPr>
              <a:t>Dwie</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preambuły</a:t>
            </a:r>
            <a:r>
              <a:rPr lang="en-US" sz="1100" i="0" kern="1200" dirty="0">
                <a:solidFill>
                  <a:schemeClr val="tx1"/>
                </a:solidFill>
                <a:effectLst/>
                <a:latin typeface="MetricHPE" panose="020B0503030202060203" pitchFamily="34" charset="0"/>
                <a:ea typeface="+mn-ea"/>
                <a:cs typeface="+mn-cs"/>
              </a:rPr>
              <a:t> z </a:t>
            </a:r>
            <a:r>
              <a:rPr lang="en-US" sz="1100" i="0" kern="1200" dirty="0" err="1">
                <a:solidFill>
                  <a:schemeClr val="tx1"/>
                </a:solidFill>
                <a:effectLst/>
                <a:latin typeface="MetricHPE" panose="020B0503030202060203" pitchFamily="34" charset="0"/>
                <a:ea typeface="+mn-ea"/>
                <a:cs typeface="+mn-cs"/>
              </a:rPr>
              <a:t>całej</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dyrektywy</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odnoszą</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się</a:t>
            </a:r>
            <a:r>
              <a:rPr lang="en-US" sz="1100" i="0" kern="1200" dirty="0">
                <a:solidFill>
                  <a:schemeClr val="tx1"/>
                </a:solidFill>
                <a:effectLst/>
                <a:latin typeface="MetricHPE" panose="020B0503030202060203" pitchFamily="34" charset="0"/>
                <a:ea typeface="+mn-ea"/>
                <a:cs typeface="+mn-cs"/>
              </a:rPr>
              <a:t> do </a:t>
            </a:r>
            <a:r>
              <a:rPr lang="en-US" sz="1100" i="0" kern="1200" dirty="0" err="1">
                <a:solidFill>
                  <a:schemeClr val="tx1"/>
                </a:solidFill>
                <a:effectLst/>
                <a:latin typeface="MetricHPE" panose="020B0503030202060203" pitchFamily="34" charset="0"/>
                <a:ea typeface="+mn-ea"/>
                <a:cs typeface="+mn-cs"/>
              </a:rPr>
              <a:t>wymagań</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względem</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organizacji</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omawiają</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zagadnienia</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takie</a:t>
            </a:r>
            <a:r>
              <a:rPr lang="en-US" sz="1100" i="0" kern="1200" dirty="0">
                <a:solidFill>
                  <a:schemeClr val="tx1"/>
                </a:solidFill>
                <a:effectLst/>
                <a:latin typeface="MetricHPE" panose="020B0503030202060203" pitchFamily="34" charset="0"/>
                <a:ea typeface="+mn-ea"/>
                <a:cs typeface="+mn-cs"/>
              </a:rPr>
              <a:t> jak:</a:t>
            </a:r>
          </a:p>
          <a:p>
            <a:endParaRPr lang="en-US" sz="1100" i="0" kern="1200" dirty="0">
              <a:solidFill>
                <a:schemeClr val="tx1"/>
              </a:solidFill>
              <a:effectLst/>
              <a:latin typeface="MetricHPE" panose="020B0503030202060203" pitchFamily="34" charset="0"/>
              <a:ea typeface="+mn-ea"/>
              <a:cs typeface="+mn-cs"/>
            </a:endParaRPr>
          </a:p>
          <a:p>
            <a:r>
              <a:rPr lang="en-US" sz="1100" i="0" kern="1200" dirty="0">
                <a:solidFill>
                  <a:schemeClr val="tx1"/>
                </a:solidFill>
                <a:effectLst/>
                <a:latin typeface="MetricHPE" panose="020B0503030202060203" pitchFamily="34" charset="0"/>
                <a:ea typeface="+mn-ea"/>
                <a:cs typeface="+mn-cs"/>
              </a:rPr>
              <a:t>ZERO TRUST </a:t>
            </a:r>
            <a:r>
              <a:rPr lang="en-US" sz="1100" i="0" kern="1200" dirty="0" err="1">
                <a:solidFill>
                  <a:schemeClr val="tx1"/>
                </a:solidFill>
                <a:effectLst/>
                <a:latin typeface="MetricHPE" panose="020B0503030202060203" pitchFamily="34" charset="0"/>
                <a:ea typeface="+mn-ea"/>
                <a:cs typeface="+mn-cs"/>
              </a:rPr>
              <a:t>gdzie</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tylko</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się</a:t>
            </a:r>
            <a:r>
              <a:rPr lang="en-US" sz="1100" i="0" kern="1200" dirty="0">
                <a:solidFill>
                  <a:schemeClr val="tx1"/>
                </a:solidFill>
                <a:effectLst/>
                <a:latin typeface="MetricHPE" panose="020B0503030202060203" pitchFamily="34" charset="0"/>
                <a:ea typeface="+mn-ea"/>
                <a:cs typeface="+mn-cs"/>
              </a:rPr>
              <a:t> da</a:t>
            </a:r>
          </a:p>
          <a:p>
            <a:r>
              <a:rPr lang="en-US" sz="1100" i="0" kern="1200" dirty="0" err="1">
                <a:solidFill>
                  <a:schemeClr val="tx1"/>
                </a:solidFill>
                <a:effectLst/>
                <a:latin typeface="MetricHPE" panose="020B0503030202060203" pitchFamily="34" charset="0"/>
                <a:ea typeface="+mn-ea"/>
                <a:cs typeface="+mn-cs"/>
              </a:rPr>
              <a:t>Segmentacja</a:t>
            </a:r>
            <a:r>
              <a:rPr lang="en-US" sz="1100" i="0" kern="1200" dirty="0">
                <a:solidFill>
                  <a:schemeClr val="tx1"/>
                </a:solidFill>
                <a:effectLst/>
                <a:latin typeface="MetricHPE" panose="020B0503030202060203" pitchFamily="34" charset="0"/>
                <a:ea typeface="+mn-ea"/>
                <a:cs typeface="+mn-cs"/>
              </a:rPr>
              <a:t> (a </a:t>
            </a:r>
            <a:r>
              <a:rPr lang="en-US" sz="1100" i="0" kern="1200" dirty="0" err="1">
                <a:solidFill>
                  <a:schemeClr val="tx1"/>
                </a:solidFill>
                <a:effectLst/>
                <a:latin typeface="MetricHPE" panose="020B0503030202060203" pitchFamily="34" charset="0"/>
                <a:ea typeface="+mn-ea"/>
                <a:cs typeface="+mn-cs"/>
              </a:rPr>
              <a:t>najlepiej</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mikrosegmentacja</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sieci</a:t>
            </a:r>
            <a:r>
              <a:rPr lang="en-US" sz="1100" i="0" kern="1200" dirty="0">
                <a:solidFill>
                  <a:schemeClr val="tx1"/>
                </a:solidFill>
                <a:effectLst/>
                <a:latin typeface="MetricHPE" panose="020B0503030202060203" pitchFamily="34" charset="0"/>
                <a:ea typeface="+mn-ea"/>
                <a:cs typeface="+mn-cs"/>
              </a:rPr>
              <a:t>!</a:t>
            </a:r>
          </a:p>
          <a:p>
            <a:r>
              <a:rPr lang="en-US" sz="1100" i="0" kern="1200" dirty="0">
                <a:solidFill>
                  <a:schemeClr val="tx1"/>
                </a:solidFill>
                <a:effectLst/>
                <a:latin typeface="MetricHPE" panose="020B0503030202060203" pitchFamily="34" charset="0"/>
                <a:ea typeface="+mn-ea"/>
                <a:cs typeface="+mn-cs"/>
              </a:rPr>
              <a:t>….</a:t>
            </a:r>
          </a:p>
          <a:p>
            <a:r>
              <a:rPr lang="en-US" sz="1100" i="0" kern="1200" dirty="0">
                <a:solidFill>
                  <a:schemeClr val="tx1"/>
                </a:solidFill>
                <a:effectLst/>
                <a:latin typeface="MetricHPE" panose="020B0503030202060203" pitchFamily="34" charset="0"/>
                <a:ea typeface="+mn-ea"/>
                <a:cs typeface="+mn-cs"/>
              </a:rPr>
              <a:t>s</a:t>
            </a:r>
          </a:p>
          <a:p>
            <a:endParaRPr lang="en-US" sz="1100" i="0" kern="1200" dirty="0">
              <a:solidFill>
                <a:schemeClr val="tx1"/>
              </a:solidFill>
              <a:effectLst/>
              <a:latin typeface="MetricHPE" panose="020B0503030202060203" pitchFamily="34" charset="0"/>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65586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i="0" kern="1200" dirty="0">
                <a:solidFill>
                  <a:schemeClr val="tx1"/>
                </a:solidFill>
                <a:effectLst/>
                <a:latin typeface="MetricHPE" panose="020B0503030202060203" pitchFamily="34" charset="0"/>
                <a:ea typeface="+mn-ea"/>
                <a:cs typeface="+mn-cs"/>
              </a:rPr>
              <a:t>WIDOCZNOŚĆ</a:t>
            </a: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29622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2</a:t>
            </a:fld>
            <a:endParaRPr lang="en-US" dirty="0"/>
          </a:p>
        </p:txBody>
      </p:sp>
    </p:spTree>
    <p:extLst>
      <p:ext uri="{BB962C8B-B14F-4D97-AF65-F5344CB8AC3E}">
        <p14:creationId xmlns:p14="http://schemas.microsoft.com/office/powerpoint/2010/main" val="1038646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dirty="0"/>
              <a:t>DPU – Data Processing Unit, </a:t>
            </a:r>
            <a:r>
              <a:rPr lang="en-US" sz="1100" kern="0" spc="-40" dirty="0" err="1">
                <a:cs typeface="Arial" panose="020B0604020202020204" pitchFamily="34" charset="0"/>
              </a:rPr>
              <a:t>Jednostka</a:t>
            </a:r>
            <a:r>
              <a:rPr lang="en-US" sz="1100" kern="0" spc="-40" dirty="0">
                <a:cs typeface="Arial" panose="020B0604020202020204" pitchFamily="34" charset="0"/>
              </a:rPr>
              <a:t> </a:t>
            </a:r>
            <a:r>
              <a:rPr lang="en-US" sz="1100" kern="0" spc="-40" dirty="0" err="1">
                <a:cs typeface="Arial" panose="020B0604020202020204" pitchFamily="34" charset="0"/>
              </a:rPr>
              <a:t>przetwarzania</a:t>
            </a:r>
            <a:r>
              <a:rPr lang="en-US" sz="1100" kern="0" spc="-40" dirty="0">
                <a:cs typeface="Arial" panose="020B0604020202020204" pitchFamily="34" charset="0"/>
              </a:rPr>
              <a:t> </a:t>
            </a:r>
            <a:r>
              <a:rPr lang="en-US" sz="1100" kern="0" spc="-40" dirty="0" err="1">
                <a:cs typeface="Arial" panose="020B0604020202020204" pitchFamily="34" charset="0"/>
              </a:rPr>
              <a:t>danych</a:t>
            </a:r>
            <a:r>
              <a:rPr lang="en-US" sz="1100" kern="0" spc="-40" dirty="0">
                <a:cs typeface="Arial" panose="020B0604020202020204" pitchFamily="34" charset="0"/>
              </a:rPr>
              <a:t> (w </a:t>
            </a:r>
            <a:r>
              <a:rPr lang="en-US" sz="1100" kern="0" spc="-40" dirty="0" err="1">
                <a:cs typeface="Arial" panose="020B0604020202020204" pitchFamily="34" charset="0"/>
              </a:rPr>
              <a:t>zamyśle</a:t>
            </a:r>
            <a:r>
              <a:rPr lang="en-US" sz="1100" kern="0" spc="-40" dirty="0">
                <a:cs typeface="Arial" panose="020B0604020202020204" pitchFamily="34" charset="0"/>
              </a:rPr>
              <a:t> </a:t>
            </a:r>
            <a:r>
              <a:rPr lang="en-US" sz="1100" kern="0" spc="-40" dirty="0" err="1">
                <a:cs typeface="Arial" panose="020B0604020202020204" pitchFamily="34" charset="0"/>
              </a:rPr>
              <a:t>bardzo</a:t>
            </a:r>
            <a:r>
              <a:rPr lang="en-US" sz="1100" kern="0" spc="-40" dirty="0">
                <a:cs typeface="Arial" panose="020B0604020202020204" pitchFamily="34" charset="0"/>
              </a:rPr>
              <a:t> </a:t>
            </a:r>
            <a:r>
              <a:rPr lang="en-US" sz="1100" kern="0" spc="-40" dirty="0" err="1">
                <a:cs typeface="Arial" panose="020B0604020202020204" pitchFamily="34" charset="0"/>
              </a:rPr>
              <a:t>dużej</a:t>
            </a:r>
            <a:r>
              <a:rPr lang="en-US" sz="1100" kern="0" spc="-40" dirty="0">
                <a:cs typeface="Arial" panose="020B0604020202020204" pitchFamily="34" charset="0"/>
              </a:rPr>
              <a:t> ich </a:t>
            </a:r>
            <a:r>
              <a:rPr lang="en-US" sz="1100" kern="0" spc="-40" dirty="0" err="1">
                <a:cs typeface="Arial" panose="020B0604020202020204" pitchFamily="34" charset="0"/>
              </a:rPr>
              <a:t>ilości</a:t>
            </a:r>
            <a:r>
              <a:rPr lang="en-US" sz="1100" kern="0" spc="-40" dirty="0">
                <a:cs typeface="Arial" panose="020B0604020202020204" pitchFamily="34" charset="0"/>
              </a:rPr>
              <a:t>)</a:t>
            </a:r>
          </a:p>
          <a:p>
            <a:endParaRPr lang="en-US" dirty="0"/>
          </a:p>
          <a:p>
            <a:r>
              <a:rPr lang="en-GB" b="0" i="0" u="none" strike="noStrike" dirty="0">
                <a:solidFill>
                  <a:srgbClr val="333333"/>
                </a:solidFill>
                <a:effectLst/>
                <a:highlight>
                  <a:srgbClr val="FAFAFA"/>
                </a:highlight>
                <a:latin typeface="Open Sans" panose="020B0606030504020204" pitchFamily="34" charset="0"/>
              </a:rPr>
              <a:t>P4 is a high-level language for programming protocol-independent packet processors. P4 works in conjunction with SDN control protocols like OpenFlow. In its current form, OpenFlow explicitly specifies protocol headers on which it operates. </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3</a:t>
            </a:fld>
            <a:endParaRPr lang="en-US" dirty="0"/>
          </a:p>
        </p:txBody>
      </p:sp>
    </p:spTree>
    <p:extLst>
      <p:ext uri="{BB962C8B-B14F-4D97-AF65-F5344CB8AC3E}">
        <p14:creationId xmlns:p14="http://schemas.microsoft.com/office/powerpoint/2010/main" val="2241883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dirty="0" err="1"/>
              <a:t>Integracja</a:t>
            </a:r>
            <a:r>
              <a:rPr lang="en-US" dirty="0"/>
              <a:t> z </a:t>
            </a:r>
            <a:r>
              <a:rPr lang="en-US" dirty="0" err="1"/>
              <a:t>vmWare</a:t>
            </a:r>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dirty="0" err="1"/>
              <a:t>Dzięki</a:t>
            </a:r>
            <a:r>
              <a:rPr lang="en-US" dirty="0"/>
              <a:t> </a:t>
            </a:r>
            <a:r>
              <a:rPr lang="en-US" dirty="0" err="1"/>
              <a:t>dystrybowanym</a:t>
            </a:r>
            <a:r>
              <a:rPr lang="en-US" dirty="0"/>
              <a:t> </a:t>
            </a:r>
            <a:r>
              <a:rPr lang="en-US" dirty="0" err="1"/>
              <a:t>usługom</a:t>
            </a:r>
            <a:r>
              <a:rPr lang="en-US" dirty="0"/>
              <a:t> firewall </a:t>
            </a:r>
            <a:r>
              <a:rPr lang="en-US" dirty="0" err="1"/>
              <a:t>mamy</a:t>
            </a:r>
            <a:r>
              <a:rPr lang="en-US" dirty="0"/>
              <a:t> </a:t>
            </a:r>
            <a:r>
              <a:rPr lang="en-US" dirty="0" err="1"/>
              <a:t>możliwość</a:t>
            </a:r>
            <a:r>
              <a:rPr lang="en-US" dirty="0"/>
              <a:t> </a:t>
            </a:r>
            <a:r>
              <a:rPr lang="en-US" dirty="0" err="1"/>
              <a:t>wdrożenia</a:t>
            </a:r>
            <a:r>
              <a:rPr lang="en-US" dirty="0"/>
              <a:t> </a:t>
            </a:r>
            <a:r>
              <a:rPr lang="en-US" dirty="0" err="1"/>
              <a:t>mikrosegmentacji</a:t>
            </a:r>
            <a:r>
              <a:rPr lang="en-US" dirty="0"/>
              <a:t> w </a:t>
            </a:r>
            <a:r>
              <a:rPr lang="en-US" dirty="0" err="1"/>
              <a:t>ramach</a:t>
            </a:r>
            <a:r>
              <a:rPr lang="en-US" dirty="0"/>
              <a:t> </a:t>
            </a:r>
            <a:r>
              <a:rPr lang="en-US" dirty="0" err="1"/>
              <a:t>jednego</a:t>
            </a:r>
            <a:r>
              <a:rPr lang="en-US" dirty="0"/>
              <a:t> VLANU, </a:t>
            </a:r>
            <a:r>
              <a:rPr lang="en-US" dirty="0" err="1"/>
              <a:t>pomiędzy</a:t>
            </a:r>
            <a:r>
              <a:rPr lang="en-US" dirty="0"/>
              <a:t> VLAN-</a:t>
            </a:r>
            <a:r>
              <a:rPr lang="en-US" dirty="0" err="1"/>
              <a:t>ami</a:t>
            </a:r>
            <a:r>
              <a:rPr lang="en-US" dirty="0"/>
              <a:t>, </a:t>
            </a:r>
            <a:r>
              <a:rPr lang="en-US" dirty="0" err="1"/>
              <a:t>pomiędzy</a:t>
            </a:r>
            <a:r>
              <a:rPr lang="en-US" dirty="0"/>
              <a:t> </a:t>
            </a:r>
            <a:r>
              <a:rPr lang="en-US" dirty="0" err="1"/>
              <a:t>wirtualizatorami</a:t>
            </a:r>
            <a:r>
              <a:rPr lang="en-US" dirty="0"/>
              <a:t>/bare metal/ </a:t>
            </a:r>
            <a:r>
              <a:rPr lang="en-US" dirty="0" err="1"/>
              <a:t>kontenerami</a:t>
            </a:r>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4</a:t>
            </a:fld>
            <a:endParaRPr lang="en-US" dirty="0"/>
          </a:p>
        </p:txBody>
      </p:sp>
    </p:spTree>
    <p:extLst>
      <p:ext uri="{BB962C8B-B14F-4D97-AF65-F5344CB8AC3E}">
        <p14:creationId xmlns:p14="http://schemas.microsoft.com/office/powerpoint/2010/main" val="3108784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dirty="0"/>
              <a:t>DPU – Data Processing Unit, </a:t>
            </a:r>
            <a:r>
              <a:rPr lang="en-US" sz="1100" kern="0" spc="-40" dirty="0" err="1">
                <a:cs typeface="Arial" panose="020B0604020202020204" pitchFamily="34" charset="0"/>
              </a:rPr>
              <a:t>Jednostka</a:t>
            </a:r>
            <a:r>
              <a:rPr lang="en-US" sz="1100" kern="0" spc="-40" dirty="0">
                <a:cs typeface="Arial" panose="020B0604020202020204" pitchFamily="34" charset="0"/>
              </a:rPr>
              <a:t> </a:t>
            </a:r>
            <a:r>
              <a:rPr lang="en-US" sz="1100" kern="0" spc="-40" dirty="0" err="1">
                <a:cs typeface="Arial" panose="020B0604020202020204" pitchFamily="34" charset="0"/>
              </a:rPr>
              <a:t>przetwarzania</a:t>
            </a:r>
            <a:r>
              <a:rPr lang="en-US" sz="1100" kern="0" spc="-40" dirty="0">
                <a:cs typeface="Arial" panose="020B0604020202020204" pitchFamily="34" charset="0"/>
              </a:rPr>
              <a:t> </a:t>
            </a:r>
            <a:r>
              <a:rPr lang="en-US" sz="1100" kern="0" spc="-40" dirty="0" err="1">
                <a:cs typeface="Arial" panose="020B0604020202020204" pitchFamily="34" charset="0"/>
              </a:rPr>
              <a:t>danych</a:t>
            </a:r>
            <a:r>
              <a:rPr lang="en-US" sz="1100" kern="0" spc="-40" dirty="0">
                <a:cs typeface="Arial" panose="020B0604020202020204" pitchFamily="34" charset="0"/>
              </a:rPr>
              <a:t> (w </a:t>
            </a:r>
            <a:r>
              <a:rPr lang="en-US" sz="1100" kern="0" spc="-40" dirty="0" err="1">
                <a:cs typeface="Arial" panose="020B0604020202020204" pitchFamily="34" charset="0"/>
              </a:rPr>
              <a:t>zamyśle</a:t>
            </a:r>
            <a:r>
              <a:rPr lang="en-US" sz="1100" kern="0" spc="-40" dirty="0">
                <a:cs typeface="Arial" panose="020B0604020202020204" pitchFamily="34" charset="0"/>
              </a:rPr>
              <a:t> </a:t>
            </a:r>
            <a:r>
              <a:rPr lang="en-US" sz="1100" kern="0" spc="-40" dirty="0" err="1">
                <a:cs typeface="Arial" panose="020B0604020202020204" pitchFamily="34" charset="0"/>
              </a:rPr>
              <a:t>bardzo</a:t>
            </a:r>
            <a:r>
              <a:rPr lang="en-US" sz="1100" kern="0" spc="-40" dirty="0">
                <a:cs typeface="Arial" panose="020B0604020202020204" pitchFamily="34" charset="0"/>
              </a:rPr>
              <a:t> </a:t>
            </a:r>
            <a:r>
              <a:rPr lang="en-US" sz="1100" kern="0" spc="-40" dirty="0" err="1">
                <a:cs typeface="Arial" panose="020B0604020202020204" pitchFamily="34" charset="0"/>
              </a:rPr>
              <a:t>dużej</a:t>
            </a:r>
            <a:r>
              <a:rPr lang="en-US" sz="1100" kern="0" spc="-40" dirty="0">
                <a:cs typeface="Arial" panose="020B0604020202020204" pitchFamily="34" charset="0"/>
              </a:rPr>
              <a:t> ich </a:t>
            </a:r>
            <a:r>
              <a:rPr lang="en-US" sz="1100" kern="0" spc="-40" dirty="0" err="1">
                <a:cs typeface="Arial" panose="020B0604020202020204" pitchFamily="34" charset="0"/>
              </a:rPr>
              <a:t>ilości</a:t>
            </a:r>
            <a:r>
              <a:rPr lang="en-US" sz="1100" kern="0" spc="-40" dirty="0">
                <a:cs typeface="Arial" panose="020B0604020202020204" pitchFamily="34" charset="0"/>
              </a:rPr>
              <a:t>)</a:t>
            </a:r>
          </a:p>
          <a:p>
            <a:endParaRPr lang="en-US" dirty="0"/>
          </a:p>
          <a:p>
            <a:r>
              <a:rPr lang="en-GB" b="0" i="0" u="none" strike="noStrike" dirty="0">
                <a:solidFill>
                  <a:srgbClr val="333333"/>
                </a:solidFill>
                <a:effectLst/>
                <a:highlight>
                  <a:srgbClr val="FAFAFA"/>
                </a:highlight>
                <a:latin typeface="Open Sans" panose="020B0606030504020204" pitchFamily="34" charset="0"/>
              </a:rPr>
              <a:t>P4 is a high-level language for programming protocol-independent packet processors. P4 works in conjunction with SDN control protocols like OpenFlow. In its current form, OpenFlow explicitly specifies protocol headers on which it operates. </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5</a:t>
            </a:fld>
            <a:endParaRPr lang="en-US" dirty="0"/>
          </a:p>
        </p:txBody>
      </p:sp>
    </p:spTree>
    <p:extLst>
      <p:ext uri="{BB962C8B-B14F-4D97-AF65-F5344CB8AC3E}">
        <p14:creationId xmlns:p14="http://schemas.microsoft.com/office/powerpoint/2010/main" val="1199221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a:t>Rozszerzenie</a:t>
            </a:r>
            <a:r>
              <a:rPr lang="en-US" dirty="0"/>
              <a:t> o </a:t>
            </a:r>
            <a:r>
              <a:rPr lang="en-US" dirty="0" err="1"/>
              <a:t>kolejne</a:t>
            </a:r>
            <a:r>
              <a:rPr lang="en-US" dirty="0"/>
              <a:t> </a:t>
            </a:r>
            <a:r>
              <a:rPr lang="en-US" dirty="0" err="1"/>
              <a:t>sektory</a:t>
            </a:r>
            <a:endParaRPr lang="en-US" dirty="0"/>
          </a:p>
          <a:p>
            <a:r>
              <a:rPr lang="en-US" dirty="0"/>
              <a:t>Private cloud/ cloud </a:t>
            </a:r>
            <a:r>
              <a:rPr lang="en-US" dirty="0" err="1"/>
              <a:t>providerzy</a:t>
            </a:r>
            <a:r>
              <a:rPr lang="en-US" dirty="0"/>
              <a:t> / </a:t>
            </a:r>
          </a:p>
          <a:p>
            <a:endParaRPr lang="en-US" dirty="0"/>
          </a:p>
          <a:p>
            <a:r>
              <a:rPr lang="en-US" dirty="0"/>
              <a:t>DOSTAWCY DNS – </a:t>
            </a:r>
            <a:r>
              <a:rPr lang="en-US" dirty="0" err="1"/>
              <a:t>upewnić</a:t>
            </a:r>
            <a:r>
              <a:rPr lang="en-US" dirty="0"/>
              <a:t> </a:t>
            </a:r>
            <a:r>
              <a:rPr lang="en-US" dirty="0" err="1"/>
              <a:t>się</a:t>
            </a:r>
            <a:r>
              <a:rPr lang="en-US" dirty="0"/>
              <a:t> </a:t>
            </a:r>
            <a:r>
              <a:rPr lang="en-US" dirty="0" err="1"/>
              <a:t>że</a:t>
            </a:r>
            <a:r>
              <a:rPr lang="en-US" dirty="0"/>
              <a:t> </a:t>
            </a:r>
            <a:r>
              <a:rPr lang="en-US" dirty="0" err="1"/>
              <a:t>wasz</a:t>
            </a:r>
            <a:r>
              <a:rPr lang="en-US" dirty="0"/>
              <a:t> </a:t>
            </a:r>
            <a:r>
              <a:rPr lang="en-US" dirty="0" err="1"/>
              <a:t>dostawca</a:t>
            </a:r>
            <a:r>
              <a:rPr lang="en-US" dirty="0"/>
              <a:t> DNS </a:t>
            </a:r>
            <a:r>
              <a:rPr lang="en-US" dirty="0" err="1"/>
              <a:t>będzie</a:t>
            </a:r>
            <a:r>
              <a:rPr lang="en-US" dirty="0"/>
              <a:t> </a:t>
            </a:r>
            <a:r>
              <a:rPr lang="en-US" dirty="0" err="1"/>
              <a:t>zgodny</a:t>
            </a:r>
            <a:r>
              <a:rPr lang="en-US" dirty="0"/>
              <a:t> z NIS 2</a:t>
            </a:r>
          </a:p>
          <a:p>
            <a:endParaRPr lang="en-US" dirty="0"/>
          </a:p>
          <a:p>
            <a:r>
              <a:rPr lang="en-US" dirty="0"/>
              <a:t>Z </a:t>
            </a:r>
            <a:r>
              <a:rPr lang="en-US" dirty="0" err="1"/>
              <a:t>pozycji</a:t>
            </a:r>
            <a:r>
              <a:rPr lang="en-US" dirty="0"/>
              <a:t> </a:t>
            </a:r>
            <a:r>
              <a:rPr lang="en-US" dirty="0" err="1"/>
              <a:t>laika</a:t>
            </a:r>
            <a:r>
              <a:rPr lang="en-US" dirty="0"/>
              <a:t> w </a:t>
            </a:r>
            <a:r>
              <a:rPr lang="en-US" dirty="0" err="1"/>
              <a:t>zakresie</a:t>
            </a:r>
            <a:r>
              <a:rPr lang="en-US" dirty="0"/>
              <a:t> </a:t>
            </a:r>
            <a:r>
              <a:rPr lang="en-US" dirty="0" err="1"/>
              <a:t>tego</a:t>
            </a:r>
            <a:r>
              <a:rPr lang="en-US" dirty="0"/>
              <a:t> </a:t>
            </a:r>
            <a:r>
              <a:rPr lang="en-US" dirty="0" err="1"/>
              <a:t>typu</a:t>
            </a:r>
            <a:r>
              <a:rPr lang="en-US" dirty="0"/>
              <a:t> </a:t>
            </a:r>
            <a:r>
              <a:rPr lang="en-US" dirty="0" err="1"/>
              <a:t>dyrektyw</a:t>
            </a:r>
            <a:r>
              <a:rPr lang="en-US" dirty="0"/>
              <a:t>:</a:t>
            </a:r>
          </a:p>
          <a:p>
            <a:r>
              <a:rPr lang="en-US" dirty="0" err="1"/>
              <a:t>Dużo</a:t>
            </a:r>
            <a:r>
              <a:rPr lang="en-US" dirty="0"/>
              <a:t> jest o </a:t>
            </a:r>
            <a:r>
              <a:rPr lang="en-US" dirty="0" err="1"/>
              <a:t>konieczności</a:t>
            </a:r>
            <a:r>
              <a:rPr lang="en-US" dirty="0"/>
              <a:t> </a:t>
            </a:r>
            <a:r>
              <a:rPr lang="en-US" dirty="0" err="1"/>
              <a:t>posiadania</a:t>
            </a:r>
            <a:r>
              <a:rPr lang="en-US" dirty="0"/>
              <a:t> </a:t>
            </a:r>
            <a:r>
              <a:rPr lang="en-US" dirty="0" err="1"/>
              <a:t>sprawnego</a:t>
            </a:r>
            <a:r>
              <a:rPr lang="en-US" dirty="0"/>
              <a:t> system </a:t>
            </a:r>
            <a:r>
              <a:rPr lang="en-US" dirty="0" err="1"/>
              <a:t>zgłaszania</a:t>
            </a:r>
            <a:r>
              <a:rPr lang="en-US" dirty="0"/>
              <a:t>, </a:t>
            </a:r>
            <a:r>
              <a:rPr lang="en-US" dirty="0" err="1"/>
              <a:t>rozpoznawania</a:t>
            </a:r>
            <a:r>
              <a:rPr lang="en-US" dirty="0"/>
              <a:t> </a:t>
            </a:r>
            <a:r>
              <a:rPr lang="en-US" dirty="0" err="1"/>
              <a:t>indydentów</a:t>
            </a:r>
            <a:r>
              <a:rPr lang="en-US" dirty="0"/>
              <a:t> </a:t>
            </a:r>
            <a:r>
              <a:rPr lang="en-US" dirty="0" err="1"/>
              <a:t>bezpieczeństwa</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6</a:t>
            </a:fld>
            <a:endParaRPr lang="en-US" dirty="0"/>
          </a:p>
        </p:txBody>
      </p:sp>
    </p:spTree>
    <p:extLst>
      <p:ext uri="{BB962C8B-B14F-4D97-AF65-F5344CB8AC3E}">
        <p14:creationId xmlns:p14="http://schemas.microsoft.com/office/powerpoint/2010/main" val="1428534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indent="0">
              <a:buNone/>
            </a:pPr>
            <a:endParaRPr lang="en-US" sz="1100" kern="1200" dirty="0">
              <a:solidFill>
                <a:schemeClr val="tx1"/>
              </a:solidFill>
              <a:effectLst/>
              <a:latin typeface="MetricHPE" panose="020B0503030202060203"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5169373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55000" lnSpcReduction="20000"/>
          </a:bodyPr>
          <a:lstStyle/>
          <a:p>
            <a:r>
              <a:rPr lang="en-US" b="1" dirty="0" err="1"/>
              <a:t>Czym</a:t>
            </a:r>
            <a:r>
              <a:rPr lang="en-US" b="1" dirty="0"/>
              <a:t> jest Zero Trust </a:t>
            </a:r>
            <a:r>
              <a:rPr lang="en-US" dirty="0"/>
              <a:t>– </a:t>
            </a:r>
            <a:r>
              <a:rPr lang="en-US" dirty="0" err="1"/>
              <a:t>ogólnie</a:t>
            </a:r>
            <a:r>
              <a:rPr lang="en-US" dirty="0"/>
              <a:t> </a:t>
            </a:r>
            <a:r>
              <a:rPr lang="en-US" dirty="0" err="1"/>
              <a:t>pojęte</a:t>
            </a:r>
            <a:r>
              <a:rPr lang="en-US" dirty="0"/>
              <a:t> “zero </a:t>
            </a:r>
            <a:r>
              <a:rPr lang="en-US" dirty="0" err="1"/>
              <a:t>zaufania</a:t>
            </a:r>
            <a:r>
              <a:rPr lang="en-US" dirty="0"/>
              <a:t>” do </a:t>
            </a:r>
            <a:r>
              <a:rPr lang="en-US" dirty="0" err="1"/>
              <a:t>urządzeń</a:t>
            </a:r>
            <a:r>
              <a:rPr lang="en-US" dirty="0"/>
              <a:t>, </a:t>
            </a:r>
            <a:r>
              <a:rPr lang="en-US" dirty="0" err="1"/>
              <a:t>użytkowników</a:t>
            </a:r>
            <a:r>
              <a:rPr lang="en-US" dirty="0"/>
              <a:t> </a:t>
            </a:r>
            <a:r>
              <a:rPr lang="en-US" dirty="0" err="1"/>
              <a:t>niezależnie</a:t>
            </a:r>
            <a:r>
              <a:rPr lang="en-US" dirty="0"/>
              <a:t> </a:t>
            </a:r>
            <a:r>
              <a:rPr lang="en-US" dirty="0" err="1"/>
              <a:t>czy</a:t>
            </a:r>
            <a:r>
              <a:rPr lang="en-US" dirty="0"/>
              <a:t> </a:t>
            </a:r>
            <a:r>
              <a:rPr lang="en-US" dirty="0" err="1"/>
              <a:t>dane</a:t>
            </a:r>
            <a:r>
              <a:rPr lang="en-US" dirty="0"/>
              <a:t> </a:t>
            </a:r>
            <a:r>
              <a:rPr lang="en-US" dirty="0" err="1"/>
              <a:t>urządzenia</a:t>
            </a:r>
            <a:r>
              <a:rPr lang="en-US" dirty="0"/>
              <a:t> </a:t>
            </a:r>
            <a:r>
              <a:rPr lang="en-US" dirty="0" err="1"/>
              <a:t>są</a:t>
            </a:r>
            <a:r>
              <a:rPr lang="en-US" dirty="0"/>
              <a:t> </a:t>
            </a:r>
            <a:r>
              <a:rPr lang="en-US" dirty="0" err="1"/>
              <a:t>częścią</a:t>
            </a:r>
            <a:r>
              <a:rPr lang="en-US" dirty="0"/>
              <a:t> </a:t>
            </a:r>
            <a:r>
              <a:rPr lang="en-US" dirty="0" err="1"/>
              <a:t>wewnętrzne</a:t>
            </a:r>
            <a:r>
              <a:rPr lang="en-US" dirty="0"/>
              <a:t> </a:t>
            </a:r>
            <a:r>
              <a:rPr lang="en-US" dirty="0" err="1"/>
              <a:t>sieci</a:t>
            </a:r>
            <a:r>
              <a:rPr lang="en-US" dirty="0"/>
              <a:t> </a:t>
            </a:r>
            <a:r>
              <a:rPr lang="en-US" dirty="0" err="1"/>
              <a:t>czy</a:t>
            </a:r>
            <a:r>
              <a:rPr lang="en-US" dirty="0"/>
              <a:t> </a:t>
            </a:r>
            <a:r>
              <a:rPr lang="en-US" dirty="0" err="1"/>
              <a:t>też</a:t>
            </a:r>
            <a:r>
              <a:rPr lang="en-US" dirty="0"/>
              <a:t> </a:t>
            </a:r>
            <a:r>
              <a:rPr lang="en-US" dirty="0" err="1"/>
              <a:t>łączą</a:t>
            </a:r>
            <a:r>
              <a:rPr lang="en-US" dirty="0"/>
              <a:t> </a:t>
            </a:r>
            <a:r>
              <a:rPr lang="en-US" dirty="0" err="1"/>
              <a:t>się</a:t>
            </a:r>
            <a:r>
              <a:rPr lang="en-US" dirty="0"/>
              <a:t> </a:t>
            </a:r>
            <a:r>
              <a:rPr lang="en-US" dirty="0" err="1"/>
              <a:t>zdalnie</a:t>
            </a:r>
            <a:r>
              <a:rPr lang="en-US" dirty="0"/>
              <a:t> </a:t>
            </a:r>
            <a:r>
              <a:rPr lang="en-US" dirty="0" err="1"/>
              <a:t>itp</a:t>
            </a:r>
            <a:r>
              <a:rPr lang="en-US" dirty="0"/>
              <a:t> </a:t>
            </a:r>
            <a:r>
              <a:rPr lang="en-US" dirty="0" err="1"/>
              <a:t>wraz</a:t>
            </a:r>
            <a:r>
              <a:rPr lang="en-US" dirty="0"/>
              <a:t> z </a:t>
            </a:r>
            <a:r>
              <a:rPr lang="en-US" dirty="0" err="1"/>
              <a:t>kontekstem</a:t>
            </a:r>
            <a:r>
              <a:rPr lang="en-US" dirty="0"/>
              <a:t> </a:t>
            </a:r>
            <a:r>
              <a:rPr lang="en-US" dirty="0" err="1"/>
              <a:t>połaczenia</a:t>
            </a:r>
            <a:r>
              <a:rPr lang="en-US" dirty="0"/>
              <a:t>/</a:t>
            </a:r>
            <a:r>
              <a:rPr lang="en-US" dirty="0" err="1"/>
              <a:t>celem</a:t>
            </a:r>
            <a:r>
              <a:rPr lang="en-US" dirty="0"/>
              <a:t>.</a:t>
            </a:r>
          </a:p>
          <a:p>
            <a:endParaRPr lang="en-US" dirty="0"/>
          </a:p>
          <a:p>
            <a:r>
              <a:rPr lang="en-US" b="1" dirty="0" err="1"/>
              <a:t>Pierwszy</a:t>
            </a:r>
            <a:r>
              <a:rPr lang="en-US" b="1" dirty="0"/>
              <a:t> </a:t>
            </a:r>
            <a:r>
              <a:rPr lang="en-US" b="1" dirty="0" err="1"/>
              <a:t>krok</a:t>
            </a:r>
            <a:r>
              <a:rPr lang="en-US" b="1" dirty="0"/>
              <a:t> – </a:t>
            </a:r>
            <a:r>
              <a:rPr lang="en-US" b="1" dirty="0" err="1"/>
              <a:t>zastąpienie</a:t>
            </a:r>
            <a:r>
              <a:rPr lang="en-US" b="1" dirty="0"/>
              <a:t> VPN-</a:t>
            </a:r>
            <a:r>
              <a:rPr lang="en-US" b="1" dirty="0" err="1"/>
              <a:t>ów</a:t>
            </a:r>
            <a:r>
              <a:rPr lang="en-US" b="1" dirty="0"/>
              <a:t> </a:t>
            </a:r>
            <a:r>
              <a:rPr lang="en-US" b="1" dirty="0" err="1"/>
              <a:t>na</a:t>
            </a:r>
            <a:r>
              <a:rPr lang="en-US" b="1" dirty="0"/>
              <a:t> </a:t>
            </a:r>
            <a:r>
              <a:rPr lang="en-US" b="1" dirty="0" err="1"/>
              <a:t>stacjach</a:t>
            </a:r>
            <a:r>
              <a:rPr lang="en-US" b="1" dirty="0"/>
              <a:t> </a:t>
            </a:r>
            <a:r>
              <a:rPr lang="en-US" b="1" dirty="0" err="1"/>
              <a:t>końcowych</a:t>
            </a:r>
            <a:r>
              <a:rPr lang="en-US" b="1" dirty="0"/>
              <a:t> </a:t>
            </a:r>
            <a:r>
              <a:rPr lang="en-US" b="1" dirty="0" err="1"/>
              <a:t>poprzez</a:t>
            </a:r>
            <a:r>
              <a:rPr lang="en-US" b="1" dirty="0"/>
              <a:t> </a:t>
            </a:r>
            <a:r>
              <a:rPr lang="en-US" b="1" dirty="0" err="1"/>
              <a:t>rozwiązanie</a:t>
            </a:r>
            <a:r>
              <a:rPr lang="en-US" b="1" dirty="0"/>
              <a:t> </a:t>
            </a:r>
            <a:r>
              <a:rPr lang="en-US" b="1" dirty="0" err="1"/>
              <a:t>takie</a:t>
            </a:r>
            <a:r>
              <a:rPr lang="en-US" b="1" dirty="0"/>
              <a:t> jak HPE Aruba ZTNA. </a:t>
            </a:r>
            <a:r>
              <a:rPr lang="en-US" dirty="0" err="1"/>
              <a:t>Rozwiązanie</a:t>
            </a:r>
            <a:r>
              <a:rPr lang="en-US" dirty="0"/>
              <a:t> to </a:t>
            </a:r>
            <a:r>
              <a:rPr lang="en-US" dirty="0" err="1"/>
              <a:t>daje</a:t>
            </a:r>
            <a:r>
              <a:rPr lang="en-US" dirty="0"/>
              <a:t> </a:t>
            </a:r>
            <a:r>
              <a:rPr lang="en-US" dirty="0" err="1"/>
              <a:t>nam</a:t>
            </a:r>
            <a:r>
              <a:rPr lang="en-US" dirty="0"/>
              <a:t> </a:t>
            </a:r>
            <a:r>
              <a:rPr lang="en-US" dirty="0" err="1"/>
              <a:t>punktowy</a:t>
            </a:r>
            <a:r>
              <a:rPr lang="en-US" dirty="0"/>
              <a:t> </a:t>
            </a:r>
            <a:r>
              <a:rPr lang="en-US" dirty="0" err="1"/>
              <a:t>dostęp</a:t>
            </a:r>
            <a:r>
              <a:rPr lang="en-US" dirty="0"/>
              <a:t> do KONKRETNEJ </a:t>
            </a:r>
            <a:r>
              <a:rPr lang="en-US" dirty="0" err="1"/>
              <a:t>aplikacji</a:t>
            </a:r>
            <a:r>
              <a:rPr lang="en-US" dirty="0"/>
              <a:t> bez </a:t>
            </a:r>
            <a:r>
              <a:rPr lang="en-US" dirty="0" err="1"/>
              <a:t>dostępu</a:t>
            </a:r>
            <a:r>
              <a:rPr lang="en-US" dirty="0"/>
              <a:t> do </a:t>
            </a:r>
            <a:r>
              <a:rPr lang="en-US" dirty="0" err="1"/>
              <a:t>innych</a:t>
            </a:r>
            <a:r>
              <a:rPr lang="en-US" dirty="0"/>
              <a:t> </a:t>
            </a:r>
            <a:r>
              <a:rPr lang="en-US" dirty="0" err="1"/>
              <a:t>zasobów</a:t>
            </a:r>
            <a:r>
              <a:rPr lang="en-US" dirty="0"/>
              <a:t> w </a:t>
            </a:r>
            <a:r>
              <a:rPr lang="en-US" dirty="0" err="1"/>
              <a:t>naszym</a:t>
            </a:r>
            <a:r>
              <a:rPr lang="en-US" dirty="0"/>
              <a:t> DC </a:t>
            </a:r>
            <a:r>
              <a:rPr lang="en-US" dirty="0" err="1"/>
              <a:t>czy</a:t>
            </a:r>
            <a:r>
              <a:rPr lang="en-US" dirty="0"/>
              <a:t> </a:t>
            </a:r>
            <a:r>
              <a:rPr lang="en-US" dirty="0" err="1"/>
              <a:t>chmurze</a:t>
            </a:r>
            <a:r>
              <a:rPr lang="en-US" dirty="0"/>
              <a:t>. </a:t>
            </a:r>
          </a:p>
          <a:p>
            <a:endParaRPr lang="en-US" dirty="0"/>
          </a:p>
          <a:p>
            <a:r>
              <a:rPr lang="en-US" b="1" dirty="0" err="1"/>
              <a:t>Krok</a:t>
            </a:r>
            <a:r>
              <a:rPr lang="en-US" b="1" dirty="0"/>
              <a:t> </a:t>
            </a:r>
            <a:r>
              <a:rPr lang="en-US" b="1" dirty="0" err="1"/>
              <a:t>drugi</a:t>
            </a:r>
            <a:r>
              <a:rPr lang="en-US" b="1" dirty="0"/>
              <a:t> – </a:t>
            </a:r>
            <a:r>
              <a:rPr lang="en-US" b="1" dirty="0" err="1"/>
              <a:t>wprowadzenie</a:t>
            </a:r>
            <a:r>
              <a:rPr lang="en-US" b="1" dirty="0"/>
              <a:t> w </a:t>
            </a:r>
            <a:r>
              <a:rPr lang="en-US" b="1" dirty="0" err="1"/>
              <a:t>organzacji</a:t>
            </a:r>
            <a:r>
              <a:rPr lang="en-US" b="1" dirty="0"/>
              <a:t> </a:t>
            </a:r>
            <a:r>
              <a:rPr lang="en-US" b="1" dirty="0" err="1"/>
              <a:t>rozwiązania</a:t>
            </a:r>
            <a:r>
              <a:rPr lang="en-US" b="1" dirty="0"/>
              <a:t> </a:t>
            </a:r>
            <a:r>
              <a:rPr lang="en-US" b="1" dirty="0" err="1"/>
              <a:t>takiego</a:t>
            </a:r>
            <a:r>
              <a:rPr lang="en-US" b="1" dirty="0"/>
              <a:t> jak </a:t>
            </a:r>
            <a:r>
              <a:rPr lang="en-US" b="1" dirty="0" err="1"/>
              <a:t>EdgeConnect</a:t>
            </a:r>
            <a:r>
              <a:rPr lang="en-US" b="1" dirty="0"/>
              <a:t> SD-WAN </a:t>
            </a:r>
            <a:r>
              <a:rPr lang="en-US" dirty="0"/>
              <a:t>– </a:t>
            </a:r>
            <a:r>
              <a:rPr lang="en-US" dirty="0" err="1"/>
              <a:t>nasza</a:t>
            </a:r>
            <a:r>
              <a:rPr lang="en-US" dirty="0"/>
              <a:t> </a:t>
            </a:r>
            <a:r>
              <a:rPr lang="en-US" dirty="0" err="1"/>
              <a:t>odpowiedź</a:t>
            </a:r>
            <a:r>
              <a:rPr lang="en-US" dirty="0"/>
              <a:t> jak </a:t>
            </a:r>
            <a:r>
              <a:rPr lang="en-US" dirty="0" err="1"/>
              <a:t>budować</a:t>
            </a:r>
            <a:r>
              <a:rPr lang="en-US" dirty="0"/>
              <a:t> </a:t>
            </a:r>
            <a:r>
              <a:rPr lang="en-US" dirty="0" err="1"/>
              <a:t>bezpieczne</a:t>
            </a:r>
            <a:r>
              <a:rPr lang="en-US" dirty="0"/>
              <a:t>, </a:t>
            </a:r>
            <a:r>
              <a:rPr lang="en-US" dirty="0" err="1"/>
              <a:t>proste</a:t>
            </a:r>
            <a:r>
              <a:rPr lang="en-US" dirty="0"/>
              <a:t> w </a:t>
            </a:r>
            <a:r>
              <a:rPr lang="en-US" dirty="0" err="1"/>
              <a:t>konfiguracji</a:t>
            </a:r>
            <a:r>
              <a:rPr lang="en-US" dirty="0"/>
              <a:t> </a:t>
            </a:r>
            <a:r>
              <a:rPr lang="en-US" dirty="0" err="1"/>
              <a:t>sieci</a:t>
            </a:r>
            <a:r>
              <a:rPr lang="en-US" dirty="0"/>
              <a:t> </a:t>
            </a:r>
            <a:r>
              <a:rPr lang="en-US" dirty="0" err="1"/>
              <a:t>rozległe</a:t>
            </a:r>
            <a:r>
              <a:rPr lang="en-US" dirty="0"/>
              <a:t>. Mamu </a:t>
            </a:r>
            <a:r>
              <a:rPr lang="en-US" dirty="0" err="1"/>
              <a:t>tu</a:t>
            </a:r>
            <a:r>
              <a:rPr lang="en-US" dirty="0"/>
              <a:t> </a:t>
            </a:r>
            <a:r>
              <a:rPr lang="en-US" dirty="0" err="1"/>
              <a:t>zintegrowany</a:t>
            </a:r>
            <a:r>
              <a:rPr lang="en-US" dirty="0"/>
              <a:t> system </a:t>
            </a:r>
            <a:r>
              <a:rPr lang="en-US" dirty="0" err="1"/>
              <a:t>segregacji</a:t>
            </a:r>
            <a:r>
              <a:rPr lang="en-US" dirty="0"/>
              <a:t> </a:t>
            </a:r>
            <a:r>
              <a:rPr lang="en-US" dirty="0" err="1"/>
              <a:t>ruchu</a:t>
            </a:r>
            <a:r>
              <a:rPr lang="en-US" dirty="0"/>
              <a:t> pod </a:t>
            </a:r>
            <a:r>
              <a:rPr lang="en-US" dirty="0" err="1"/>
              <a:t>kątem</a:t>
            </a:r>
            <a:r>
              <a:rPr lang="en-US" dirty="0"/>
              <a:t> </a:t>
            </a:r>
            <a:r>
              <a:rPr lang="en-US" dirty="0" err="1"/>
              <a:t>najlepszym</a:t>
            </a:r>
            <a:r>
              <a:rPr lang="en-US" dirty="0"/>
              <a:t> </a:t>
            </a:r>
            <a:r>
              <a:rPr lang="en-US" dirty="0" err="1"/>
              <a:t>parametrów</a:t>
            </a:r>
            <a:r>
              <a:rPr lang="en-US" dirty="0"/>
              <a:t> </a:t>
            </a:r>
            <a:r>
              <a:rPr lang="en-US" dirty="0" err="1"/>
              <a:t>sieciowych</a:t>
            </a:r>
            <a:r>
              <a:rPr lang="en-US" dirty="0"/>
              <a:t> (jitter, ping, </a:t>
            </a:r>
            <a:r>
              <a:rPr lang="en-US" dirty="0" err="1"/>
              <a:t>ilośc</a:t>
            </a:r>
            <a:r>
              <a:rPr lang="en-US" dirty="0"/>
              <a:t> </a:t>
            </a:r>
            <a:r>
              <a:rPr lang="en-US" dirty="0" err="1"/>
              <a:t>traconych</a:t>
            </a:r>
            <a:r>
              <a:rPr lang="en-US" dirty="0"/>
              <a:t> </a:t>
            </a:r>
            <a:r>
              <a:rPr lang="en-US" dirty="0" err="1"/>
              <a:t>pakietów</a:t>
            </a:r>
            <a:r>
              <a:rPr lang="en-US" dirty="0"/>
              <a:t>, </a:t>
            </a:r>
            <a:r>
              <a:rPr lang="en-US" dirty="0" err="1"/>
              <a:t>przepustowość</a:t>
            </a:r>
            <a:r>
              <a:rPr lang="en-US" dirty="0"/>
              <a:t>). </a:t>
            </a:r>
            <a:r>
              <a:rPr lang="en-US" dirty="0" err="1"/>
              <a:t>Mamy</a:t>
            </a:r>
            <a:r>
              <a:rPr lang="en-US" dirty="0"/>
              <a:t> </a:t>
            </a:r>
            <a:r>
              <a:rPr lang="en-US" dirty="0" err="1"/>
              <a:t>pełną</a:t>
            </a:r>
            <a:r>
              <a:rPr lang="en-US" dirty="0"/>
              <a:t> </a:t>
            </a:r>
            <a:r>
              <a:rPr lang="en-US" dirty="0" err="1"/>
              <a:t>integrację</a:t>
            </a:r>
            <a:r>
              <a:rPr lang="en-US" dirty="0"/>
              <a:t> z </a:t>
            </a:r>
            <a:r>
              <a:rPr lang="en-US" dirty="0" err="1"/>
              <a:t>naszym</a:t>
            </a:r>
            <a:r>
              <a:rPr lang="en-US" dirty="0"/>
              <a:t> </a:t>
            </a:r>
            <a:r>
              <a:rPr lang="en-US" dirty="0" err="1"/>
              <a:t>rozwiązaniem</a:t>
            </a:r>
            <a:r>
              <a:rPr lang="en-US" dirty="0"/>
              <a:t> SSE z </a:t>
            </a:r>
            <a:r>
              <a:rPr lang="en-US" dirty="0" err="1"/>
              <a:t>kroku</a:t>
            </a:r>
            <a:r>
              <a:rPr lang="en-US" dirty="0"/>
              <a:t> </a:t>
            </a:r>
            <a:r>
              <a:rPr lang="en-US" dirty="0" err="1"/>
              <a:t>pierwszego</a:t>
            </a:r>
            <a:r>
              <a:rPr lang="en-US" dirty="0"/>
              <a:t> co </a:t>
            </a:r>
            <a:r>
              <a:rPr lang="en-US" dirty="0" err="1"/>
              <a:t>daje</a:t>
            </a:r>
            <a:r>
              <a:rPr lang="en-US" dirty="0"/>
              <a:t> </a:t>
            </a:r>
            <a:r>
              <a:rPr lang="en-US" dirty="0" err="1"/>
              <a:t>nam</a:t>
            </a:r>
            <a:r>
              <a:rPr lang="en-US" dirty="0"/>
              <a:t> </a:t>
            </a:r>
            <a:r>
              <a:rPr lang="en-US" dirty="0" err="1"/>
              <a:t>możliwość</a:t>
            </a:r>
            <a:r>
              <a:rPr lang="en-US" dirty="0"/>
              <a:t> </a:t>
            </a:r>
            <a:r>
              <a:rPr lang="en-US" dirty="0" err="1"/>
              <a:t>selektywnego</a:t>
            </a:r>
            <a:r>
              <a:rPr lang="en-US" dirty="0"/>
              <a:t> </a:t>
            </a:r>
            <a:r>
              <a:rPr lang="en-US" dirty="0" err="1"/>
              <a:t>wyboru</a:t>
            </a:r>
            <a:r>
              <a:rPr lang="en-US" dirty="0"/>
              <a:t> </a:t>
            </a:r>
            <a:r>
              <a:rPr lang="en-US" dirty="0" err="1"/>
              <a:t>ścieżki</a:t>
            </a:r>
            <a:r>
              <a:rPr lang="en-US" dirty="0"/>
              <a:t> np. </a:t>
            </a:r>
            <a:r>
              <a:rPr lang="en-US" dirty="0" err="1"/>
              <a:t>Zaszyfrowaną</a:t>
            </a:r>
            <a:r>
              <a:rPr lang="en-US" dirty="0"/>
              <a:t> </a:t>
            </a:r>
            <a:r>
              <a:rPr lang="en-US" dirty="0" err="1"/>
              <a:t>ścieżką</a:t>
            </a:r>
            <a:r>
              <a:rPr lang="en-US" dirty="0"/>
              <a:t> do </a:t>
            </a:r>
            <a:r>
              <a:rPr lang="en-US" dirty="0" err="1"/>
              <a:t>najbliższego</a:t>
            </a:r>
            <a:r>
              <a:rPr lang="en-US" dirty="0"/>
              <a:t> </a:t>
            </a:r>
            <a:r>
              <a:rPr lang="en-US" dirty="0" err="1"/>
              <a:t>PoP</a:t>
            </a:r>
            <a:r>
              <a:rPr lang="en-US" dirty="0"/>
              <a:t>-a (Point of presence). </a:t>
            </a:r>
          </a:p>
          <a:p>
            <a:r>
              <a:rPr lang="pl-PL" dirty="0"/>
              <a:t>Segmentacja z użyciem </a:t>
            </a:r>
            <a:r>
              <a:rPr lang="pl-PL" dirty="0" err="1"/>
              <a:t>firewalla</a:t>
            </a:r>
            <a:r>
              <a:rPr lang="pl-PL" dirty="0"/>
              <a:t> i wsparcie dla rozciągnięcia polityk pomiędzy </a:t>
            </a:r>
            <a:r>
              <a:rPr lang="pl-PL" dirty="0" err="1"/>
              <a:t>site</a:t>
            </a:r>
            <a:r>
              <a:rPr lang="pl-PL" dirty="0"/>
              <a:t>-y. </a:t>
            </a:r>
          </a:p>
          <a:p>
            <a:r>
              <a:rPr lang="pl-PL" dirty="0"/>
              <a:t>DDOS </a:t>
            </a:r>
            <a:r>
              <a:rPr lang="pl-PL" dirty="0" err="1"/>
              <a:t>protection</a:t>
            </a:r>
            <a:endParaRPr lang="pl-PL" dirty="0"/>
          </a:p>
          <a:p>
            <a:r>
              <a:rPr lang="pl-PL" dirty="0"/>
              <a:t>IPS/IDS</a:t>
            </a:r>
          </a:p>
          <a:p>
            <a:endParaRPr lang="en-US" dirty="0"/>
          </a:p>
          <a:p>
            <a:endParaRPr lang="en-US" dirty="0"/>
          </a:p>
          <a:p>
            <a:r>
              <a:rPr lang="en-US" b="1" dirty="0" err="1"/>
              <a:t>Krok</a:t>
            </a:r>
            <a:r>
              <a:rPr lang="en-US" b="1" dirty="0"/>
              <a:t> 3- </a:t>
            </a:r>
            <a:r>
              <a:rPr lang="en-US" b="1" dirty="0" err="1"/>
              <a:t>czyli</a:t>
            </a:r>
            <a:r>
              <a:rPr lang="en-US" b="1" dirty="0"/>
              <a:t> </a:t>
            </a:r>
            <a:r>
              <a:rPr lang="en-US" b="1" dirty="0" err="1"/>
              <a:t>totalna</a:t>
            </a:r>
            <a:r>
              <a:rPr lang="en-US" b="1" dirty="0"/>
              <a:t> </a:t>
            </a:r>
            <a:r>
              <a:rPr lang="en-US" b="1" dirty="0" err="1"/>
              <a:t>podstawa</a:t>
            </a:r>
            <a:r>
              <a:rPr lang="en-US" b="1" dirty="0"/>
              <a:t> – </a:t>
            </a:r>
            <a:r>
              <a:rPr lang="en-US" b="1" dirty="0" err="1"/>
              <a:t>wprowadzenie</a:t>
            </a:r>
            <a:r>
              <a:rPr lang="en-US" b="1" dirty="0"/>
              <a:t> </a:t>
            </a:r>
            <a:r>
              <a:rPr lang="en-US" b="1" dirty="0" err="1"/>
              <a:t>nowoczesnego</a:t>
            </a:r>
            <a:r>
              <a:rPr lang="en-US" b="1" dirty="0"/>
              <a:t> NAC jak Aruba </a:t>
            </a:r>
            <a:r>
              <a:rPr lang="en-US" b="1" dirty="0" err="1"/>
              <a:t>Clearpass</a:t>
            </a:r>
            <a:r>
              <a:rPr lang="en-US" dirty="0"/>
              <a:t>, </a:t>
            </a:r>
            <a:r>
              <a:rPr lang="en-US" dirty="0" err="1"/>
              <a:t>który</a:t>
            </a:r>
            <a:r>
              <a:rPr lang="en-US" dirty="0"/>
              <a:t> </a:t>
            </a:r>
            <a:r>
              <a:rPr lang="en-US" dirty="0" err="1"/>
              <a:t>umożliwi</a:t>
            </a:r>
            <a:r>
              <a:rPr lang="en-US" dirty="0"/>
              <a:t> </a:t>
            </a:r>
            <a:r>
              <a:rPr lang="en-US" dirty="0" err="1"/>
              <a:t>nam</a:t>
            </a:r>
            <a:r>
              <a:rPr lang="en-US" dirty="0"/>
              <a:t> </a:t>
            </a:r>
            <a:r>
              <a:rPr lang="en-US" dirty="0" err="1"/>
              <a:t>uwierzytelnianie</a:t>
            </a:r>
            <a:r>
              <a:rPr lang="en-US" dirty="0"/>
              <a:t>, </a:t>
            </a:r>
            <a:r>
              <a:rPr lang="en-US" dirty="0" err="1"/>
              <a:t>autoryzację</a:t>
            </a:r>
            <a:r>
              <a:rPr lang="en-US" dirty="0"/>
              <a:t> </a:t>
            </a:r>
            <a:r>
              <a:rPr lang="en-US" dirty="0" err="1"/>
              <a:t>użytkowników</a:t>
            </a:r>
            <a:r>
              <a:rPr lang="en-US" dirty="0"/>
              <a:t> I </a:t>
            </a:r>
            <a:r>
              <a:rPr lang="en-US" dirty="0" err="1"/>
              <a:t>urządzeń</a:t>
            </a:r>
            <a:r>
              <a:rPr lang="en-US" dirty="0"/>
              <a:t> do </a:t>
            </a:r>
            <a:r>
              <a:rPr lang="en-US" dirty="0" err="1"/>
              <a:t>zasobów</a:t>
            </a:r>
            <a:r>
              <a:rPr lang="en-US" dirty="0"/>
              <a:t>, </a:t>
            </a:r>
            <a:r>
              <a:rPr lang="en-US" dirty="0" err="1"/>
              <a:t>dynamiczną</a:t>
            </a:r>
            <a:r>
              <a:rPr lang="en-US" dirty="0"/>
              <a:t> </a:t>
            </a:r>
            <a:r>
              <a:rPr lang="en-US" dirty="0" err="1"/>
              <a:t>segmentację</a:t>
            </a:r>
            <a:r>
              <a:rPr lang="en-US" dirty="0"/>
              <a:t>. Monitoring </a:t>
            </a:r>
            <a:r>
              <a:rPr lang="en-US" dirty="0" err="1"/>
              <a:t>sieci</a:t>
            </a:r>
            <a:r>
              <a:rPr lang="en-US" dirty="0"/>
              <a:t>, </a:t>
            </a:r>
            <a:r>
              <a:rPr lang="en-US" dirty="0" err="1"/>
              <a:t>zintegrowany</a:t>
            </a:r>
            <a:r>
              <a:rPr lang="en-US" dirty="0"/>
              <a:t> system do </a:t>
            </a:r>
            <a:r>
              <a:rPr lang="en-US" dirty="0" err="1"/>
              <a:t>wykrywania</a:t>
            </a:r>
            <a:r>
              <a:rPr lang="en-US" dirty="0"/>
              <a:t> </a:t>
            </a:r>
            <a:r>
              <a:rPr lang="en-US" dirty="0" err="1"/>
              <a:t>incydentów</a:t>
            </a:r>
            <a:r>
              <a:rPr lang="en-US" dirty="0"/>
              <a:t> </a:t>
            </a:r>
          </a:p>
          <a:p>
            <a:endParaRPr lang="en-US" dirty="0"/>
          </a:p>
          <a:p>
            <a:r>
              <a:rPr lang="en-US" dirty="0"/>
              <a:t>Zero trust (ZT) </a:t>
            </a:r>
            <a:r>
              <a:rPr lang="pl-PL" dirty="0"/>
              <a:t>jest terminem określającym zbiór paradygmatów cyberbezpieczeństwa, przenoszących zabezpieczenie w kierunku użytkowników, danych i zasobów. Architektura Zero Trust polega na zasadzie zerowego zaufania zarówno w kierunku użytkowników jak i urządzeń końcowych niezależnie od ich lokalizacji (sieć lokalna vs internet) jak również przynależności (firmowe vs prywatne). Każdorazowo, przed zagwarantowaniem dostępu do zasobów wymagane jest przeprowadzenie uwierzytelnienia jak i autoryzacji.</a:t>
            </a:r>
          </a:p>
          <a:p>
            <a:endParaRPr lang="pl-PL" dirty="0"/>
          </a:p>
          <a:p>
            <a:r>
              <a:rPr lang="pl-PL" dirty="0"/>
              <a:t>Pierwszym krokiem, przy redukowaniu wektora ataku jest zastąpenie wykorzystywanych powszechnie na stacjach końcowych VPNów rowiązaniem HPE Aruba ZTNA, umożliwiającym punktowy dostęp do konkrentych aplikacji hostowanych w DC lub chmurze publicznej bez jednoczesnego udzielania dostępu do sieci korporacyjnej. Dostęp do aplikacji możemy świadczyć poprzez połączenie z wykorzystaniem agenta na stacji końcowej lub web ze znajdującym się w chmurze publicznej Point of Presence, na którym zdefiniowane są wszystkie polityki bezpieczeństwa w tym kontekst - kto, gdzie, kiedy, po co, skad, dokad – per aplikacja jak również określane są dodatkowe warunki dostępu w tym posture, weryfikujący zdrowie stacji końcowej (np. wersja i rodzaj oprogramowania, aktualnośc certyfikatów, włączony antivirus etc).  Dodatkowo rozwiązanie umożliwia wgląd w przesyłany ruch. W przypadku naruszenia warunków dostępu automatycznie i natychmiastowo terminujemy sesję i pozbawiamy użytkownika dostępu do aplikacji. </a:t>
            </a:r>
          </a:p>
          <a:p>
            <a:endParaRPr lang="pl-PL" dirty="0"/>
          </a:p>
          <a:p>
            <a:r>
              <a:rPr lang="pl-PL" dirty="0"/>
              <a:t>Kolejną składową podejścia Zero Trust jest Edgeconnect SD-WAN, czyli odpowiedź jak budować bezpieczne sieci rozległe z jednoczesnym wykorzystaniem mechanizmów gwarantujących niezawodność i wysoką dostępność do zasobów i krytycznych aplikacji biznesowych. Dzięki mechanizmom klasyfikującym i segregującym ruch aplikacyjny możliwe jest podjęcie decyzji o wyborze dla nich właściwej sciezki o najlepszych parametrach sieciowych (opóźnienia, jitter, ilość traconych pakietów). Poprzez integrację z SSE jesteśmy równiez w stanie podjąć decyzję, czy dany ruch chcemy wysłać zaszyfrowaną ścieżką bezpośrednio do najbliższego PoP czy do innego oddziału bądź centrali. Dzięki dedykowanemu systemowi zarządzania zyskujemy granularny wgląd w aktualne parametry ruchu, tak sieciowe i jak aplikacyjne, jak również możliwość wykonania łatwego troubleshootingu z wykorzystaniem mapy zdrowia i aktualnego stanu sieci.</a:t>
            </a:r>
          </a:p>
          <a:p>
            <a:endParaRPr lang="pl-PL" dirty="0"/>
          </a:p>
          <a:p>
            <a:r>
              <a:rPr lang="pl-PL" dirty="0"/>
              <a:t>Segmentacja z użyciem </a:t>
            </a:r>
            <a:r>
              <a:rPr lang="pl-PL" dirty="0" err="1"/>
              <a:t>firewalla</a:t>
            </a:r>
            <a:r>
              <a:rPr lang="pl-PL" dirty="0"/>
              <a:t> i wsparcie dla rozciągnięcia polityk pomiędzy </a:t>
            </a:r>
            <a:r>
              <a:rPr lang="pl-PL" dirty="0" err="1"/>
              <a:t>site</a:t>
            </a:r>
            <a:r>
              <a:rPr lang="pl-PL" dirty="0"/>
              <a:t>-y. </a:t>
            </a:r>
          </a:p>
          <a:p>
            <a:r>
              <a:rPr lang="pl-PL" dirty="0"/>
              <a:t>DDOS </a:t>
            </a:r>
            <a:r>
              <a:rPr lang="pl-PL" dirty="0" err="1"/>
              <a:t>protection</a:t>
            </a:r>
            <a:endParaRPr lang="pl-PL" dirty="0"/>
          </a:p>
          <a:p>
            <a:r>
              <a:rPr lang="pl-PL" dirty="0"/>
              <a:t>IPS/IDS</a:t>
            </a:r>
          </a:p>
          <a:p>
            <a:endParaRPr lang="pl-PL" dirty="0"/>
          </a:p>
          <a:p>
            <a:endParaRPr lang="pl-PL" dirty="0"/>
          </a:p>
          <a:p>
            <a:r>
              <a:rPr lang="pl-PL" dirty="0"/>
              <a:t>W końcu Aruba ClearPass umożliwia uwierzytelnianie urządzeń jak i użytkowników, następnie ich profilowanie i tworzenie zasad opartych na rolach, które umożliwiają zespołom monitorowanie i egzekwowanie sposobu, w jaki użytkownicy i urządzenia uzyskują dostęp do zasobów IT, niezależnie od lokalizacji, metody łączności czy pory dnia. Dodatkowo jesteśmy w stanie, wykorzystując clearpass jako źródło tożsamości dla użytkowników zintegrować poprzez SAML z rozwiązaniem SSE.</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8</a:t>
            </a:fld>
            <a:endParaRPr lang="en-US"/>
          </a:p>
        </p:txBody>
      </p:sp>
    </p:spTree>
    <p:extLst>
      <p:ext uri="{BB962C8B-B14F-4D97-AF65-F5344CB8AC3E}">
        <p14:creationId xmlns:p14="http://schemas.microsoft.com/office/powerpoint/2010/main" val="2393857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r>
              <a:rPr lang="pl-PL" dirty="0"/>
              <a:t>Przechodząc nieco głębiej do rozwiązania HPE Aruba Networking SSE. Składa się ono z trzech filarów</a:t>
            </a:r>
            <a:br>
              <a:rPr lang="pl-PL" dirty="0"/>
            </a:br>
            <a:r>
              <a:rPr lang="pl-PL" dirty="0"/>
              <a:t>Zero Trust Network Access, Secure Web Gateway oraz Cloud Access Security Broker. </a:t>
            </a:r>
          </a:p>
          <a:p>
            <a:endParaRPr lang="pl-PL" dirty="0"/>
          </a:p>
          <a:p>
            <a:r>
              <a:rPr lang="pl-PL" dirty="0"/>
              <a:t>Zero Trust Network Access – umożliwia dostęp do aplikacji hostowanych w DC lub chmurze publicznej poprzez szyfrowane połączenie z PoP z wykorzystaniem agenta lub bez. W związku z tym, odwrotnie niż w przypadku VPN, użytkownik nie łączy się z siecią korporacyjną, a jedynie otrzymuje punktowy dostęp do aplikacji korporacyjnych niezbędnych w codziennej pracy. Dodatkowo Aruba ZTNA wspiera połączenia inicjowane przez serwer, więc dopuszcza patchowanie stacji końcowych jak równiez obsługę ruchu VoiP.</a:t>
            </a:r>
          </a:p>
          <a:p>
            <a:endParaRPr lang="pl-PL" dirty="0"/>
          </a:p>
          <a:p>
            <a:r>
              <a:rPr lang="pl-PL" dirty="0"/>
              <a:t>Secure Web Gateway – web proxy – jest rozwiązaniem pozwalającym kontrolować dostęp do internetu i chronić przed atakami malware, zarówno użytkownikom zdalnym z wykorzystaniem agenta na stacji końcowej, jak równiez użytkownikom w oddziale poprzez integrację z rozwiązaniem Edgeconnect SD-WAN. SWG pozwala kategoryzować strony webowe, wykonywać inspekcję dla ruchu SSL, dokonywać segregacji stron na podstawie ich reputacji jak również wykonać skanowanie, klasyfikację i jeśli zajdzie taka potrzeba rónież sandboxig dla przesyłanych plików.</a:t>
            </a:r>
          </a:p>
          <a:p>
            <a:endParaRPr lang="pl-PL" dirty="0"/>
          </a:p>
          <a:p>
            <a:r>
              <a:rPr lang="pl-PL" dirty="0"/>
              <a:t>CASBy – odpowiada za kontrolowanie dostępu, śledzenie zmian na hostowanych plikach, zapobieganie wyciekom danych wrażliwych poprzez wbudowane mechanizmy DPL, jak również ograniczanie dostępnych akcji dla użytkownika końcowego w ponad 10 000 aplikacji SaaS.</a:t>
            </a:r>
            <a:endParaRPr lang="en-US" dirty="0"/>
          </a:p>
          <a:p>
            <a:endParaRPr lang="pl-PL" dirty="0"/>
          </a:p>
          <a:p>
            <a:r>
              <a:rPr lang="pl-PL" dirty="0"/>
              <a:t>Dodatkowo rowiązanie SSE, dzięki utrzymywaniu wszystkich omawianych usług pod jedną konsolą do zarządzania, umożliwia w prosty sposób budowanie zunifikowanych polityk bezpieczeństwa i zarządzanie kompletną architekturą, Dzięki rozproszeniu PoP – Point Of Presence - we wszystkich największych platformach chmurowych - </a:t>
            </a:r>
            <a:r>
              <a:rPr lang="en-US" sz="1100" b="0" i="0" u="none" strike="noStrike" dirty="0">
                <a:solidFill>
                  <a:srgbClr val="000000"/>
                </a:solidFill>
                <a:effectLst/>
                <a:latin typeface="Arial" panose="020B0604020202020204" pitchFamily="34" charset="0"/>
              </a:rPr>
              <a:t>AWS, Google Cloud Platform, Oracle</a:t>
            </a:r>
            <a:r>
              <a:rPr lang="pl-PL" sz="1100" b="0" i="0" u="none" strike="noStrike" dirty="0">
                <a:solidFill>
                  <a:srgbClr val="000000"/>
                </a:solidFill>
                <a:effectLst/>
                <a:latin typeface="Arial" panose="020B0604020202020204" pitchFamily="34" charset="0"/>
              </a:rPr>
              <a:t> i </a:t>
            </a:r>
            <a:r>
              <a:rPr lang="en-US" sz="1100" b="0" i="1" u="none" strike="noStrike" dirty="0">
                <a:solidFill>
                  <a:srgbClr val="000000"/>
                </a:solidFill>
                <a:effectLst/>
                <a:latin typeface="Arial" panose="020B0604020202020204" pitchFamily="34" charset="0"/>
              </a:rPr>
              <a:t>Azure</a:t>
            </a:r>
            <a:r>
              <a:rPr lang="pl-PL" sz="1100" b="0" i="1" u="none" strike="noStrike" dirty="0">
                <a:solidFill>
                  <a:srgbClr val="000000"/>
                </a:solidFill>
                <a:effectLst/>
                <a:latin typeface="Arial" panose="020B0604020202020204" pitchFamily="34" charset="0"/>
              </a:rPr>
              <a:t>, oraz mechanizom inteligentnego routingu, HPE Aruba SSE gwarantuje zapewnienie wysokiej dostępności do usługi.</a:t>
            </a:r>
          </a:p>
          <a:p>
            <a:endParaRPr lang="pl-PL" sz="1100" b="0" i="1" u="none" strike="noStrike" dirty="0">
              <a:solidFill>
                <a:srgbClr val="000000"/>
              </a:solidFill>
              <a:effectLst/>
              <a:latin typeface="Arial" panose="020B0604020202020204" pitchFamily="34" charset="0"/>
            </a:endParaRPr>
          </a:p>
          <a:p>
            <a:r>
              <a:rPr lang="pl-PL" sz="1100" b="0" i="1" u="none" strike="noStrike" dirty="0">
                <a:solidFill>
                  <a:srgbClr val="000000"/>
                </a:solidFill>
                <a:effectLst/>
                <a:latin typeface="Arial" panose="020B0604020202020204" pitchFamily="34" charset="0"/>
              </a:rPr>
              <a:t>Wykorzystując Digital Experience Monitoring administratorzy w prosty sposób są w stanie zidentyfikować miejsce występowania problemu z dostępnością do aplikacji (stacja końcowa, sieć korporacyjna, dostępnośc do PoP itd) hop by hop.</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641844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indent="-36195"/>
            <a:r>
              <a:rPr lang="en-US" sz="1100">
                <a:effectLst/>
                <a:latin typeface="Calibri"/>
                <a:ea typeface="Calibri" panose="020F0502020204030204" pitchFamily="34" charset="0"/>
                <a:cs typeface="Calibri"/>
              </a:rPr>
              <a:t>We are a global company supporting every type of industry. Our solutions have received numerous security certifications, many from government organizations. We are secure enough for government, we are secure for your organization too.</a:t>
            </a:r>
            <a:r>
              <a:rPr lang="en-US">
                <a:latin typeface="Calibri"/>
                <a:ea typeface="Calibri" panose="020F0502020204030204" pitchFamily="34" charset="0"/>
                <a:cs typeface="Calibri"/>
              </a:rPr>
              <a:t> </a:t>
            </a:r>
            <a:endParaRPr lang="en-US"/>
          </a:p>
          <a:p>
            <a:endParaRPr lang="en-US" sz="1100">
              <a:effectLst/>
              <a:latin typeface="Calibri" panose="020F0502020204030204" pitchFamily="34" charset="0"/>
              <a:cs typeface="Times New Roman" panose="02020603050405020304" pitchFamily="18" charset="0"/>
            </a:endParaRPr>
          </a:p>
          <a:p>
            <a:endParaRPr lang="en-US" sz="1100">
              <a:effectLst/>
              <a:latin typeface="Calibri" panose="020F0502020204030204" pitchFamily="34" charset="0"/>
              <a:cs typeface="Times New Roman" panose="02020603050405020304" pitchFamily="18" charset="0"/>
            </a:endParaRPr>
          </a:p>
          <a:p>
            <a:pPr indent="-36195"/>
            <a:r>
              <a:rPr lang="en-US">
                <a:latin typeface="MetricHPE"/>
              </a:rPr>
              <a:t>Common Criteria and FIPS Certified products: https://www.arubanetworks.com/solutions/government/certifications/</a:t>
            </a:r>
          </a:p>
          <a:p>
            <a:endParaRPr lang="en-US"/>
          </a:p>
          <a:p>
            <a:pPr marL="0" marR="0" lvl="0" indent="0" algn="l" defTabSz="685772" rtl="0" eaLnBrk="1" fontAlgn="auto" latinLnBrk="0" hangingPunct="1">
              <a:lnSpc>
                <a:spcPct val="90000"/>
              </a:lnSpc>
              <a:spcBef>
                <a:spcPts val="0"/>
              </a:spcBef>
              <a:spcAft>
                <a:spcPts val="0"/>
              </a:spcAft>
              <a:buClrTx/>
              <a:buSzTx/>
              <a:buFontTx/>
              <a:buNone/>
              <a:tabLst/>
              <a:defRPr/>
            </a:pPr>
            <a:endParaRPr lang="en-US" sz="900" b="0" i="0" u="none" strike="noStrike" kern="1200" cap="none" spc="0" normalizeH="0" baseline="0" noProof="0">
              <a:ln>
                <a:noFill/>
              </a:ln>
              <a:solidFill>
                <a:srgbClr val="FFFFFF"/>
              </a:solidFill>
              <a:effectLst/>
              <a:uLnTx/>
              <a:uFillTx/>
              <a:latin typeface="Open Sans" panose="020B0606030504020204"/>
              <a:ea typeface="Helvetica Neue Black Condensed"/>
              <a:cs typeface="Open Sans"/>
            </a:endParaRPr>
          </a:p>
          <a:p>
            <a:pPr marL="0" marR="0" lvl="0" indent="0" algn="l" defTabSz="685772"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FFFFFF"/>
                </a:solidFill>
                <a:effectLst/>
                <a:uLnTx/>
                <a:uFillTx/>
                <a:latin typeface="Open Sans" panose="020B0606030504020204"/>
                <a:ea typeface="Helvetica Neue Black Condensed"/>
                <a:cs typeface="Open Sans"/>
                <a:sym typeface="Helvetica Neue Black Condensed"/>
              </a:rPr>
              <a:t>2</a:t>
            </a:r>
            <a:r>
              <a:rPr kumimoji="0" lang="en-US" sz="900" b="0" i="0" u="none" strike="noStrike" kern="1200" cap="none" spc="0" normalizeH="0" baseline="0" noProof="0">
                <a:ln>
                  <a:noFill/>
                </a:ln>
                <a:solidFill>
                  <a:srgbClr val="FFFFFF"/>
                </a:solidFill>
                <a:effectLst/>
                <a:uLnTx/>
                <a:uFillTx/>
                <a:latin typeface="Open Sans" panose="020B0606030504020204"/>
                <a:ea typeface="Helvetica Neue Black Condensed"/>
                <a:cs typeface="Open Sans"/>
                <a:sym typeface="Helvetica Neue Black Condensed"/>
              </a:rPr>
              <a:t> https://www.arubanetworks.com/solutions/government/certifications</a:t>
            </a:r>
            <a:endParaRPr lang="en-US">
              <a:cs typeface="Open Sans"/>
            </a:endParaRPr>
          </a:p>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3934841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spcBef>
                <a:spcPts val="0"/>
              </a:spcBef>
              <a:spcAft>
                <a:spcPts val="0"/>
              </a:spcAft>
              <a:buFontTx/>
              <a:buNone/>
            </a:pPr>
            <a:r>
              <a:rPr lang="en-US" sz="1100" kern="100">
                <a:effectLst/>
                <a:latin typeface="Open Sans" panose="020B0606030504020204" pitchFamily="34" charset="0"/>
                <a:ea typeface="Calibri" panose="020F0502020204030204" pitchFamily="34" charset="0"/>
                <a:cs typeface="Arial" panose="020B0604020202020204" pitchFamily="34" charset="0"/>
              </a:rPr>
              <a:t>The ESP architecture continues to evolve based on advancements in our portfolio capability.  </a:t>
            </a:r>
          </a:p>
          <a:p>
            <a:pPr marL="0" marR="0" indent="0">
              <a:spcBef>
                <a:spcPts val="0"/>
              </a:spcBef>
              <a:spcAft>
                <a:spcPts val="0"/>
              </a:spcAft>
              <a:buFontTx/>
              <a:buNone/>
            </a:pPr>
            <a:endParaRPr lang="en-US" sz="1100" kern="100">
              <a:effectLst/>
              <a:latin typeface="Calibri" panose="020F0502020204030204" pitchFamily="34" charset="0"/>
              <a:ea typeface="Calibri" panose="020F0502020204030204" pitchFamily="34" charset="0"/>
              <a:cs typeface="Arial" panose="020B0604020202020204" pitchFamily="34" charset="0"/>
            </a:endParaRPr>
          </a:p>
          <a:p>
            <a:pPr marL="0" marR="0" indent="0">
              <a:spcBef>
                <a:spcPts val="0"/>
              </a:spcBef>
              <a:spcAft>
                <a:spcPts val="0"/>
              </a:spcAft>
              <a:buFontTx/>
              <a:buNone/>
            </a:pPr>
            <a:r>
              <a:rPr lang="en-US" sz="1100" kern="100">
                <a:effectLst/>
                <a:latin typeface="Open Sans" panose="020B0606030504020204" pitchFamily="34" charset="0"/>
                <a:ea typeface="Calibri" panose="020F0502020204030204" pitchFamily="34" charset="0"/>
                <a:cs typeface="Arial" panose="020B0604020202020204" pitchFamily="34" charset="0"/>
              </a:rPr>
              <a:t>Let’s now go into each of these layers to touch on key themes as well bring you up to speed on what’s new and innovative in terms of our investment in ESP. </a:t>
            </a:r>
          </a:p>
          <a:p>
            <a:pPr marL="0" marR="0" indent="0">
              <a:spcBef>
                <a:spcPts val="0"/>
              </a:spcBef>
              <a:spcAft>
                <a:spcPts val="0"/>
              </a:spcAft>
              <a:buFontTx/>
              <a:buNone/>
            </a:pPr>
            <a:endParaRPr lang="en-US" sz="1100" kern="100">
              <a:effectLst/>
              <a:latin typeface="Open Sans" panose="020B0606030504020204" pitchFamily="34" charset="0"/>
              <a:ea typeface="Calibri" panose="020F0502020204030204" pitchFamily="34" charset="0"/>
              <a:cs typeface="Arial" panose="020B0604020202020204" pitchFamily="34" charset="0"/>
            </a:endParaRPr>
          </a:p>
          <a:p>
            <a:pPr marL="0" marR="0" indent="0">
              <a:spcBef>
                <a:spcPts val="0"/>
              </a:spcBef>
              <a:spcAft>
                <a:spcPts val="0"/>
              </a:spcAft>
              <a:buFontTx/>
              <a:buNone/>
            </a:pPr>
            <a:r>
              <a:rPr lang="en-US" sz="1100" kern="100">
                <a:effectLst/>
                <a:latin typeface="Open Sans" panose="020B0606030504020204" pitchFamily="34" charset="0"/>
                <a:ea typeface="Calibri" panose="020F0502020204030204" pitchFamily="34" charset="0"/>
                <a:cs typeface="Arial" panose="020B0604020202020204" pitchFamily="34" charset="0"/>
              </a:rPr>
              <a:t>This has been our strategy for a few years and continues to align very well with emerging customer requirements. </a:t>
            </a:r>
          </a:p>
          <a:p>
            <a:pPr marL="0" marR="0" indent="0">
              <a:spcBef>
                <a:spcPts val="0"/>
              </a:spcBef>
              <a:spcAft>
                <a:spcPts val="0"/>
              </a:spcAft>
              <a:buFontTx/>
              <a:buNone/>
            </a:pPr>
            <a:endParaRPr lang="en-US" sz="1100" kern="100">
              <a:effectLst/>
              <a:latin typeface="Open Sans" panose="020B0606030504020204" pitchFamily="34" charset="0"/>
              <a:ea typeface="Calibri" panose="020F0502020204030204" pitchFamily="34" charset="0"/>
              <a:cs typeface="Arial" panose="020B0604020202020204" pitchFamily="34" charset="0"/>
            </a:endParaRPr>
          </a:p>
          <a:p>
            <a:pPr marL="0" marR="0" indent="0">
              <a:spcBef>
                <a:spcPts val="0"/>
              </a:spcBef>
              <a:spcAft>
                <a:spcPts val="0"/>
              </a:spcAft>
              <a:buFontTx/>
              <a:buNone/>
            </a:pPr>
            <a:r>
              <a:rPr lang="en-US" sz="1100" kern="100">
                <a:effectLst/>
                <a:latin typeface="Open Sans" panose="020B0606030504020204" pitchFamily="34" charset="0"/>
                <a:ea typeface="Calibri" panose="020F0502020204030204" pitchFamily="34" charset="0"/>
                <a:cs typeface="Arial" panose="020B0604020202020204" pitchFamily="34" charset="0"/>
              </a:rPr>
              <a:t>Let’s understand more as to why...</a:t>
            </a:r>
            <a:endParaRPr lang="en-US" sz="1100" kern="1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800" u="none" strike="noStrike" kern="1200" cap="none" spc="0" normalizeH="0" baseline="0" noProof="0">
              <a:ln>
                <a:noFill/>
              </a:ln>
              <a:solidFill>
                <a:prstClr val="black"/>
              </a:solidFill>
              <a:effectLst/>
              <a:uLnTx/>
              <a:uFillTx/>
              <a:latin typeface="MetricHPE Light" panose="020B0303030202060203" pitchFamily="34" charset="77"/>
              <a:ea typeface="Open Sans" panose="020B0606030504020204" pitchFamily="34" charset="0"/>
              <a:cs typeface="Open Sans" panose="020B0606030504020204" pitchFamily="34"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kumimoji="0" lang="en-US" sz="800" u="none" strike="noStrike" kern="1200" cap="none" spc="0" normalizeH="0" baseline="0" noProof="0">
              <a:ln>
                <a:noFill/>
              </a:ln>
              <a:solidFill>
                <a:prstClr val="black"/>
              </a:solidFill>
              <a:effectLst/>
              <a:uLnTx/>
              <a:uFillTx/>
              <a:latin typeface="MetricHPE Light" panose="020B0303030202060203" pitchFamily="34" charset="77"/>
              <a:ea typeface="Open Sans" panose="020B0606030504020204" pitchFamily="34" charset="0"/>
              <a:cs typeface="Open Sans" panose="020B0606030504020204" pitchFamily="34" charset="0"/>
            </a:endParaRPr>
          </a:p>
          <a:p>
            <a:endParaRPr lang="en-US"/>
          </a:p>
          <a:p>
            <a:endParaRPr lang="en-US"/>
          </a:p>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3</a:t>
            </a:fld>
            <a:endParaRPr lang="en-US"/>
          </a:p>
        </p:txBody>
      </p:sp>
    </p:spTree>
    <p:extLst>
      <p:ext uri="{BB962C8B-B14F-4D97-AF65-F5344CB8AC3E}">
        <p14:creationId xmlns:p14="http://schemas.microsoft.com/office/powerpoint/2010/main" val="2387402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a:t>Rozszerzenie</a:t>
            </a:r>
            <a:r>
              <a:rPr lang="en-US" dirty="0"/>
              <a:t> o </a:t>
            </a:r>
            <a:r>
              <a:rPr lang="en-US" dirty="0" err="1"/>
              <a:t>kolejne</a:t>
            </a:r>
            <a:r>
              <a:rPr lang="en-US" dirty="0"/>
              <a:t> </a:t>
            </a:r>
            <a:r>
              <a:rPr lang="en-US" dirty="0" err="1"/>
              <a:t>sektory</a:t>
            </a:r>
            <a:endParaRPr lang="en-US" dirty="0"/>
          </a:p>
          <a:p>
            <a:r>
              <a:rPr lang="en-US" dirty="0"/>
              <a:t>Private cloud/ cloud </a:t>
            </a:r>
            <a:r>
              <a:rPr lang="en-US" dirty="0" err="1"/>
              <a:t>providerzy</a:t>
            </a:r>
            <a:r>
              <a:rPr lang="en-US" dirty="0"/>
              <a:t> / </a:t>
            </a:r>
          </a:p>
          <a:p>
            <a:endParaRPr lang="en-US" dirty="0"/>
          </a:p>
          <a:p>
            <a:r>
              <a:rPr lang="en-US" dirty="0"/>
              <a:t>DOSTAWCY DNS – </a:t>
            </a:r>
            <a:r>
              <a:rPr lang="en-US" dirty="0" err="1"/>
              <a:t>upewnić</a:t>
            </a:r>
            <a:r>
              <a:rPr lang="en-US" dirty="0"/>
              <a:t> </a:t>
            </a:r>
            <a:r>
              <a:rPr lang="en-US" dirty="0" err="1"/>
              <a:t>się</a:t>
            </a:r>
            <a:r>
              <a:rPr lang="en-US" dirty="0"/>
              <a:t> </a:t>
            </a:r>
            <a:r>
              <a:rPr lang="en-US" dirty="0" err="1"/>
              <a:t>że</a:t>
            </a:r>
            <a:r>
              <a:rPr lang="en-US" dirty="0"/>
              <a:t> </a:t>
            </a:r>
            <a:r>
              <a:rPr lang="en-US" dirty="0" err="1"/>
              <a:t>wasz</a:t>
            </a:r>
            <a:r>
              <a:rPr lang="en-US" dirty="0"/>
              <a:t> </a:t>
            </a:r>
            <a:r>
              <a:rPr lang="en-US" dirty="0" err="1"/>
              <a:t>dostawca</a:t>
            </a:r>
            <a:r>
              <a:rPr lang="en-US" dirty="0"/>
              <a:t> DNS </a:t>
            </a:r>
            <a:r>
              <a:rPr lang="en-US" dirty="0" err="1"/>
              <a:t>będzie</a:t>
            </a:r>
            <a:r>
              <a:rPr lang="en-US" dirty="0"/>
              <a:t> </a:t>
            </a:r>
            <a:r>
              <a:rPr lang="en-US" dirty="0" err="1"/>
              <a:t>zgodny</a:t>
            </a:r>
            <a:r>
              <a:rPr lang="en-US" dirty="0"/>
              <a:t> z NIS 2</a:t>
            </a:r>
          </a:p>
          <a:p>
            <a:endParaRPr lang="en-US" dirty="0"/>
          </a:p>
          <a:p>
            <a:r>
              <a:rPr lang="en-US" dirty="0"/>
              <a:t>Z </a:t>
            </a:r>
            <a:r>
              <a:rPr lang="en-US" dirty="0" err="1"/>
              <a:t>pozycji</a:t>
            </a:r>
            <a:r>
              <a:rPr lang="en-US" dirty="0"/>
              <a:t> </a:t>
            </a:r>
            <a:r>
              <a:rPr lang="en-US" dirty="0" err="1"/>
              <a:t>laika</a:t>
            </a:r>
            <a:r>
              <a:rPr lang="en-US" dirty="0"/>
              <a:t> w </a:t>
            </a:r>
            <a:r>
              <a:rPr lang="en-US" dirty="0" err="1"/>
              <a:t>zakresie</a:t>
            </a:r>
            <a:r>
              <a:rPr lang="en-US" dirty="0"/>
              <a:t> </a:t>
            </a:r>
            <a:r>
              <a:rPr lang="en-US" dirty="0" err="1"/>
              <a:t>tego</a:t>
            </a:r>
            <a:r>
              <a:rPr lang="en-US" dirty="0"/>
              <a:t> </a:t>
            </a:r>
            <a:r>
              <a:rPr lang="en-US" dirty="0" err="1"/>
              <a:t>typu</a:t>
            </a:r>
            <a:r>
              <a:rPr lang="en-US" dirty="0"/>
              <a:t> </a:t>
            </a:r>
            <a:r>
              <a:rPr lang="en-US" dirty="0" err="1"/>
              <a:t>dyrektyw</a:t>
            </a:r>
            <a:r>
              <a:rPr lang="en-US" dirty="0"/>
              <a:t>:</a:t>
            </a:r>
          </a:p>
          <a:p>
            <a:r>
              <a:rPr lang="en-US" dirty="0" err="1"/>
              <a:t>Dużo</a:t>
            </a:r>
            <a:r>
              <a:rPr lang="en-US" dirty="0"/>
              <a:t> jest o </a:t>
            </a:r>
            <a:r>
              <a:rPr lang="en-US" dirty="0" err="1"/>
              <a:t>konieczności</a:t>
            </a:r>
            <a:r>
              <a:rPr lang="en-US" dirty="0"/>
              <a:t> </a:t>
            </a:r>
            <a:r>
              <a:rPr lang="en-US" dirty="0" err="1"/>
              <a:t>posiadania</a:t>
            </a:r>
            <a:r>
              <a:rPr lang="en-US" dirty="0"/>
              <a:t> </a:t>
            </a:r>
            <a:r>
              <a:rPr lang="en-US" dirty="0" err="1"/>
              <a:t>sprawnego</a:t>
            </a:r>
            <a:r>
              <a:rPr lang="en-US" dirty="0"/>
              <a:t> system </a:t>
            </a:r>
            <a:r>
              <a:rPr lang="en-US" dirty="0" err="1"/>
              <a:t>zgłaszania</a:t>
            </a:r>
            <a:r>
              <a:rPr lang="en-US" dirty="0"/>
              <a:t>, </a:t>
            </a:r>
            <a:r>
              <a:rPr lang="en-US" dirty="0" err="1"/>
              <a:t>rozpoznawania</a:t>
            </a:r>
            <a:r>
              <a:rPr lang="en-US" dirty="0"/>
              <a:t> </a:t>
            </a:r>
            <a:r>
              <a:rPr lang="en-US" dirty="0" err="1"/>
              <a:t>indydentów</a:t>
            </a:r>
            <a:r>
              <a:rPr lang="en-US" dirty="0"/>
              <a:t> </a:t>
            </a:r>
            <a:r>
              <a:rPr lang="en-US" dirty="0" err="1"/>
              <a:t>bezpieczeństwa</a:t>
            </a:r>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4</a:t>
            </a:fld>
            <a:endParaRPr lang="en-US" dirty="0"/>
          </a:p>
        </p:txBody>
      </p:sp>
    </p:spTree>
    <p:extLst>
      <p:ext uri="{BB962C8B-B14F-4D97-AF65-F5344CB8AC3E}">
        <p14:creationId xmlns:p14="http://schemas.microsoft.com/office/powerpoint/2010/main" val="1983873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When it comes to Zero Trust security, there are several core capabilities that are required. </a:t>
            </a:r>
          </a:p>
          <a:p>
            <a:endParaRPr lang="en-US"/>
          </a:p>
          <a:p>
            <a:pPr marL="228600" indent="-228600">
              <a:buFont typeface="+mj-lt"/>
              <a:buAutoNum type="arabicPeriod"/>
            </a:pPr>
            <a:r>
              <a:rPr lang="en-US"/>
              <a:t>Visibility—knowing who and what is on your network and constantly scanning for change.</a:t>
            </a:r>
          </a:p>
          <a:p>
            <a:pPr marL="228600" indent="-228600">
              <a:buFont typeface="+mj-lt"/>
              <a:buAutoNum type="arabicPeriod"/>
            </a:pPr>
            <a:r>
              <a:rPr lang="en-US"/>
              <a:t>Authentication and authorization—assigning appropriate access privileges based on the confidence level organizations have as to who and what is on their network</a:t>
            </a:r>
          </a:p>
          <a:p>
            <a:pPr marL="228600" indent="-228600">
              <a:buFont typeface="+mj-lt"/>
              <a:buAutoNum type="arabicPeriod"/>
            </a:pPr>
            <a:r>
              <a:rPr lang="en-US"/>
              <a:t>Role-based access control—role-based access security—visibility, authentication and authorization, brought together with enforcement of least-privilege access. Aruba does this with Dynamic Segmentation. Dynamic Segmentation can be accomplished via centralized or distributed </a:t>
            </a:r>
            <a:r>
              <a:rPr lang="en-US" u="sng"/>
              <a:t>methods</a:t>
            </a:r>
            <a:r>
              <a:rPr lang="en-US"/>
              <a:t>.</a:t>
            </a:r>
          </a:p>
          <a:p>
            <a:pPr marL="228600" indent="-228600">
              <a:buFont typeface="+mj-lt"/>
              <a:buAutoNum type="arabicPeriod"/>
            </a:pPr>
            <a:r>
              <a:rPr lang="en-US"/>
              <a:t>Conditional monitoring—continuous monitoring—ensuring that once a user or device is on the network, they are behaving consistently with their role/who they are attesting to be</a:t>
            </a:r>
          </a:p>
          <a:p>
            <a:pPr marL="228600" indent="-228600">
              <a:buFont typeface="+mj-lt"/>
              <a:buAutoNum type="arabicPeriod"/>
            </a:pPr>
            <a:r>
              <a:rPr lang="en-US"/>
              <a:t>Enforcement and response—when an anomaly is detected or contextual data signals a threat, the ability to act and remediate the threat and stop the threat is important to Zero Trust security</a:t>
            </a:r>
          </a:p>
          <a:p>
            <a:pPr marL="228600" indent="-228600">
              <a:buFont typeface="+mj-lt"/>
              <a:buAutoNum type="arabicPeriod"/>
            </a:pPr>
            <a:endParaRPr lang="en-US"/>
          </a:p>
          <a:p>
            <a:pPr marL="0" indent="0">
              <a:buFont typeface="+mj-lt"/>
              <a:buNone/>
            </a:pPr>
            <a:r>
              <a:rPr lang="en-US"/>
              <a:t>All these capabilities are represented within the Aruba ESP security solutions portfolio.</a:t>
            </a:r>
          </a:p>
          <a:p>
            <a:pPr marL="0" indent="0">
              <a:buFont typeface="+mj-lt"/>
              <a:buNone/>
            </a:pPr>
            <a:endParaRPr lang="en-US"/>
          </a:p>
          <a:p>
            <a:pPr marL="0" indent="0">
              <a:buFont typeface="+mj-lt"/>
              <a:buNone/>
            </a:pPr>
            <a:r>
              <a:rPr lang="en-US"/>
              <a:t>Let’s explore each of these capabilities in detail.</a:t>
            </a:r>
            <a:endParaRPr lang="en-GB"/>
          </a:p>
        </p:txBody>
      </p:sp>
      <p:sp>
        <p:nvSpPr>
          <p:cNvPr id="4" name="Slide Number Placeholder 3"/>
          <p:cNvSpPr>
            <a:spLocks noGrp="1"/>
          </p:cNvSpPr>
          <p:nvPr>
            <p:ph type="sldNum" sz="quarter" idx="5"/>
          </p:nvPr>
        </p:nvSpPr>
        <p:spPr/>
        <p:txBody>
          <a:bodyPr/>
          <a:lstStyle/>
          <a:p>
            <a:fld id="{C5DB511F-96EE-4F4F-B2B8-3213D7CEECF9}" type="slidenum">
              <a:rPr lang="en-GB" smtClean="0"/>
              <a:t>5</a:t>
            </a:fld>
            <a:endParaRPr lang="en-GB"/>
          </a:p>
        </p:txBody>
      </p:sp>
    </p:spTree>
    <p:extLst>
      <p:ext uri="{BB962C8B-B14F-4D97-AF65-F5344CB8AC3E}">
        <p14:creationId xmlns:p14="http://schemas.microsoft.com/office/powerpoint/2010/main" val="3034014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5BED69-ED0B-B74B-9B77-B6A03253A3B3}" type="slidenum">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05492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endParaRPr lang="en-US" dirty="0"/>
          </a:p>
          <a:p>
            <a:r>
              <a:rPr lang="en-US" dirty="0"/>
              <a:t>So if we go back to the methods of AAA, </a:t>
            </a:r>
          </a:p>
          <a:p>
            <a:r>
              <a:rPr lang="en-US" dirty="0"/>
              <a:t> CPDI detects when an </a:t>
            </a:r>
            <a:r>
              <a:rPr lang="en-US" dirty="0" err="1"/>
              <a:t>IoT</a:t>
            </a:r>
            <a:r>
              <a:rPr lang="en-US" dirty="0"/>
              <a:t> device is connected, provides detailed information on that device and continuously monitors the profile of the device</a:t>
            </a:r>
          </a:p>
          <a:p>
            <a:r>
              <a:rPr lang="en-US" dirty="0"/>
              <a:t> Once those devices and roles are understood, they can be assigned to a policy defined and maintained centrally in CPPM.</a:t>
            </a:r>
          </a:p>
          <a:p>
            <a:r>
              <a:rPr lang="en-US" dirty="0"/>
              <a:t> CPPM provides the policies for authorization and access control.</a:t>
            </a:r>
          </a:p>
          <a:p>
            <a:r>
              <a:rPr lang="en-US" dirty="0"/>
              <a:t> As users and devices generate traffic, their traffic is isolated across the entire network to only the resources defined in the policy by using the policy enforcement firewall</a:t>
            </a:r>
          </a:p>
          <a:p>
            <a:endParaRPr lang="en-US" dirty="0"/>
          </a:p>
          <a:p>
            <a:r>
              <a:rPr lang="en-US" dirty="0"/>
              <a:t>Benefits: </a:t>
            </a:r>
          </a:p>
          <a:p>
            <a:r>
              <a:rPr lang="en-US" dirty="0"/>
              <a:t>Consistent policy for wired and wireless</a:t>
            </a:r>
          </a:p>
          <a:p>
            <a:r>
              <a:rPr lang="en-US" dirty="0"/>
              <a:t>Eliminates static configurations</a:t>
            </a:r>
          </a:p>
          <a:p>
            <a:r>
              <a:rPr lang="en-US" dirty="0"/>
              <a:t>Improves protection level</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Open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29033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42607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9</a:t>
            </a:fld>
            <a:endParaRPr lang="en-US" dirty="0"/>
          </a:p>
        </p:txBody>
      </p:sp>
    </p:spTree>
    <p:extLst>
      <p:ext uri="{BB962C8B-B14F-4D97-AF65-F5344CB8AC3E}">
        <p14:creationId xmlns:p14="http://schemas.microsoft.com/office/powerpoint/2010/main" val="1936738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i="0" kern="1200" dirty="0" err="1">
                <a:solidFill>
                  <a:schemeClr val="tx1"/>
                </a:solidFill>
                <a:effectLst/>
                <a:latin typeface="MetricHPE" panose="020B0503030202060203" pitchFamily="34" charset="0"/>
                <a:ea typeface="+mn-ea"/>
                <a:cs typeface="+mn-cs"/>
              </a:rPr>
              <a:t>Segmentacja</a:t>
            </a:r>
            <a:r>
              <a:rPr lang="en-US" sz="1100" i="0" kern="1200" dirty="0">
                <a:solidFill>
                  <a:schemeClr val="tx1"/>
                </a:solidFill>
                <a:effectLst/>
                <a:latin typeface="MetricHPE" panose="020B0503030202060203" pitchFamily="34" charset="0"/>
                <a:ea typeface="+mn-ea"/>
                <a:cs typeface="+mn-cs"/>
              </a:rPr>
              <a:t>, a w </a:t>
            </a:r>
            <a:r>
              <a:rPr lang="en-US" sz="1100" i="0" kern="1200" dirty="0" err="1">
                <a:solidFill>
                  <a:schemeClr val="tx1"/>
                </a:solidFill>
                <a:effectLst/>
                <a:latin typeface="MetricHPE" panose="020B0503030202060203" pitchFamily="34" charset="0"/>
                <a:ea typeface="+mn-ea"/>
                <a:cs typeface="+mn-cs"/>
              </a:rPr>
              <a:t>tym</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wypadku</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jej</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nowsze</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ucieleśnienie</a:t>
            </a:r>
            <a:r>
              <a:rPr lang="en-US" sz="1100" i="0" kern="1200" dirty="0">
                <a:solidFill>
                  <a:schemeClr val="tx1"/>
                </a:solidFill>
                <a:effectLst/>
                <a:latin typeface="MetricHPE" panose="020B0503030202060203" pitchFamily="34" charset="0"/>
                <a:ea typeface="+mn-ea"/>
                <a:cs typeface="+mn-cs"/>
              </a:rPr>
              <a:t> – </a:t>
            </a:r>
            <a:r>
              <a:rPr lang="en-US" sz="1100" i="0" kern="1200" dirty="0" err="1">
                <a:solidFill>
                  <a:schemeClr val="tx1"/>
                </a:solidFill>
                <a:effectLst/>
                <a:latin typeface="MetricHPE" panose="020B0503030202060203" pitchFamily="34" charset="0"/>
                <a:ea typeface="+mn-ea"/>
                <a:cs typeface="+mn-cs"/>
              </a:rPr>
              <a:t>mikrosegmentacja</a:t>
            </a:r>
            <a:r>
              <a:rPr lang="en-US" sz="1100" i="0" kern="1200" dirty="0">
                <a:solidFill>
                  <a:schemeClr val="tx1"/>
                </a:solidFill>
                <a:effectLst/>
                <a:latin typeface="MetricHPE" panose="020B0503030202060203" pitchFamily="34" charset="0"/>
                <a:ea typeface="+mn-ea"/>
                <a:cs typeface="+mn-cs"/>
              </a:rPr>
              <a:t> to </a:t>
            </a:r>
            <a:r>
              <a:rPr lang="en-US" sz="1100" i="0" kern="1200" dirty="0" err="1">
                <a:solidFill>
                  <a:schemeClr val="tx1"/>
                </a:solidFill>
                <a:effectLst/>
                <a:latin typeface="MetricHPE" panose="020B0503030202060203" pitchFamily="34" charset="0"/>
                <a:ea typeface="+mn-ea"/>
                <a:cs typeface="+mn-cs"/>
              </a:rPr>
              <a:t>jeden</a:t>
            </a:r>
            <a:r>
              <a:rPr lang="en-US" sz="1100" i="0" kern="1200" dirty="0">
                <a:solidFill>
                  <a:schemeClr val="tx1"/>
                </a:solidFill>
                <a:effectLst/>
                <a:latin typeface="MetricHPE" panose="020B0503030202060203" pitchFamily="34" charset="0"/>
                <a:ea typeface="+mn-ea"/>
                <a:cs typeface="+mn-cs"/>
              </a:rPr>
              <a:t> z </a:t>
            </a:r>
            <a:r>
              <a:rPr lang="en-US" sz="1100" i="0" kern="1200" dirty="0" err="1">
                <a:solidFill>
                  <a:schemeClr val="tx1"/>
                </a:solidFill>
                <a:effectLst/>
                <a:latin typeface="MetricHPE" panose="020B0503030202060203" pitchFamily="34" charset="0"/>
                <a:ea typeface="+mn-ea"/>
                <a:cs typeface="+mn-cs"/>
              </a:rPr>
              <a:t>kluczowych</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sposbów</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zabezpieczania</a:t>
            </a:r>
            <a:r>
              <a:rPr lang="en-US" sz="1100" i="0" kern="1200" dirty="0">
                <a:solidFill>
                  <a:schemeClr val="tx1"/>
                </a:solidFill>
                <a:effectLst/>
                <a:latin typeface="MetricHPE" panose="020B0503030202060203" pitchFamily="34" charset="0"/>
                <a:ea typeface="+mn-ea"/>
                <a:cs typeface="+mn-cs"/>
              </a:rPr>
              <a:t> </a:t>
            </a:r>
            <a:r>
              <a:rPr lang="en-US" sz="1100" i="0" kern="1200" dirty="0" err="1">
                <a:solidFill>
                  <a:schemeClr val="tx1"/>
                </a:solidFill>
                <a:effectLst/>
                <a:latin typeface="MetricHPE" panose="020B0503030202060203" pitchFamily="34" charset="0"/>
                <a:ea typeface="+mn-ea"/>
                <a:cs typeface="+mn-cs"/>
              </a:rPr>
              <a:t>nowoczesnego</a:t>
            </a:r>
            <a:r>
              <a:rPr lang="en-US" sz="1100" i="0" kern="1200" dirty="0">
                <a:solidFill>
                  <a:schemeClr val="tx1"/>
                </a:solidFill>
                <a:effectLst/>
                <a:latin typeface="MetricHPE" panose="020B0503030202060203" pitchFamily="34" charset="0"/>
                <a:ea typeface="+mn-ea"/>
                <a:cs typeface="+mn-cs"/>
              </a:rPr>
              <a:t> DC. </a:t>
            </a:r>
          </a:p>
          <a:p>
            <a:r>
              <a:rPr lang="en-US" sz="1100" i="0" kern="1200" dirty="0" err="1">
                <a:solidFill>
                  <a:schemeClr val="tx1"/>
                </a:solidFill>
                <a:effectLst/>
                <a:latin typeface="MetricHPE" panose="020B0503030202060203" pitchFamily="34" charset="0"/>
                <a:ea typeface="+mn-ea"/>
                <a:cs typeface="+mn-cs"/>
              </a:rPr>
              <a:t>Szyfrowanie</a:t>
            </a:r>
            <a:r>
              <a:rPr lang="en-US" sz="1100" i="0" kern="1200" dirty="0">
                <a:solidFill>
                  <a:schemeClr val="tx1"/>
                </a:solidFill>
                <a:effectLst/>
                <a:latin typeface="MetricHPE" panose="020B0503030202060203" pitchFamily="34" charset="0"/>
                <a:ea typeface="+mn-ea"/>
                <a:cs typeface="+mn-cs"/>
              </a:rPr>
              <a:t> site to site </a:t>
            </a:r>
            <a:r>
              <a:rPr lang="en-US" sz="1100" i="0" kern="1200" dirty="0" err="1">
                <a:solidFill>
                  <a:schemeClr val="tx1"/>
                </a:solidFill>
                <a:effectLst/>
                <a:latin typeface="MetricHPE" panose="020B0503030202060203" pitchFamily="34" charset="0"/>
                <a:ea typeface="+mn-ea"/>
                <a:cs typeface="+mn-cs"/>
              </a:rPr>
              <a:t>IPSec</a:t>
            </a:r>
            <a:endParaRPr lang="en-US" sz="1100" i="0" kern="1200" dirty="0">
              <a:solidFill>
                <a:schemeClr val="tx1"/>
              </a:solidFill>
              <a:effectLst/>
              <a:latin typeface="MetricHPE" panose="020B0503030202060203" pitchFamily="34" charset="0"/>
              <a:ea typeface="+mn-ea"/>
              <a:cs typeface="+mn-cs"/>
            </a:endParaRPr>
          </a:p>
          <a:p>
            <a:r>
              <a:rPr lang="en-US" sz="1100" i="0" kern="1200" dirty="0" err="1">
                <a:solidFill>
                  <a:schemeClr val="tx1"/>
                </a:solidFill>
                <a:effectLst/>
                <a:latin typeface="MetricHPE" panose="020B0503030202060203" pitchFamily="34" charset="0"/>
                <a:ea typeface="+mn-ea"/>
                <a:cs typeface="+mn-cs"/>
              </a:rPr>
              <a:t>Telemetria</a:t>
            </a:r>
            <a:r>
              <a:rPr lang="en-US" sz="1100" i="0" kern="1200" dirty="0">
                <a:solidFill>
                  <a:schemeClr val="tx1"/>
                </a:solidFill>
                <a:effectLst/>
                <a:latin typeface="MetricHPE" panose="020B0503030202060203" pitchFamily="34" charset="0"/>
                <a:ea typeface="+mn-ea"/>
                <a:cs typeface="+mn-cs"/>
              </a:rPr>
              <a:t> I </a:t>
            </a:r>
            <a:r>
              <a:rPr lang="en-US" sz="1100" i="0" kern="1200" dirty="0" err="1">
                <a:solidFill>
                  <a:schemeClr val="tx1"/>
                </a:solidFill>
                <a:effectLst/>
                <a:latin typeface="MetricHPE" panose="020B0503030202060203" pitchFamily="34" charset="0"/>
                <a:ea typeface="+mn-ea"/>
                <a:cs typeface="+mn-cs"/>
              </a:rPr>
              <a:t>widoczność</a:t>
            </a:r>
            <a:r>
              <a:rPr lang="en-US" sz="1100" i="0" kern="1200">
                <a:solidFill>
                  <a:schemeClr val="tx1"/>
                </a:solidFill>
                <a:effectLst/>
                <a:latin typeface="MetricHPE" panose="020B0503030202060203" pitchFamily="34" charset="0"/>
                <a:ea typeface="+mn-ea"/>
                <a:cs typeface="+mn-cs"/>
              </a:rPr>
              <a:t>!</a:t>
            </a:r>
            <a:endParaRPr lang="en-US" sz="1100" i="0" kern="1200" dirty="0">
              <a:solidFill>
                <a:schemeClr val="tx1"/>
              </a:solidFill>
              <a:effectLst/>
              <a:latin typeface="MetricHPE" panose="020B0503030202060203" pitchFamily="34" charset="0"/>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7515262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6114314"/>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35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4651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2518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133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endParaRPr lang="en-US" dirty="0"/>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05840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endParaRPr lang="en-US" dirty="0"/>
          </a:p>
        </p:txBody>
      </p:sp>
      <p:sp>
        <p:nvSpPr>
          <p:cNvPr id="2" name="Slide Number Placeholder 1">
            <a:extLst>
              <a:ext uri="{FF2B5EF4-FFF2-40B4-BE49-F238E27FC236}">
                <a16:creationId xmlns:a16="http://schemas.microsoft.com/office/drawing/2014/main" id="{FA5384A7-6A22-82A9-C36B-B94D9524B6C1}"/>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endParaRPr lang="en-US" dirty="0"/>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Tree>
    <p:extLst>
      <p:ext uri="{BB962C8B-B14F-4D97-AF65-F5344CB8AC3E}">
        <p14:creationId xmlns:p14="http://schemas.microsoft.com/office/powerpoint/2010/main" val="137847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63233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5592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124183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49170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29192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dirty="0"/>
              <a:t>Single line</a:t>
            </a:r>
          </a:p>
        </p:txBody>
      </p:sp>
    </p:spTree>
    <p:extLst>
      <p:ext uri="{BB962C8B-B14F-4D97-AF65-F5344CB8AC3E}">
        <p14:creationId xmlns:p14="http://schemas.microsoft.com/office/powerpoint/2010/main" val="160767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4239520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2344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24814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Tree>
    <p:extLst>
      <p:ext uri="{BB962C8B-B14F-4D97-AF65-F5344CB8AC3E}">
        <p14:creationId xmlns:p14="http://schemas.microsoft.com/office/powerpoint/2010/main" val="37456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299548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DURATION&gt;</a:t>
              </a:r>
            </a:p>
          </p:txBody>
        </p:sp>
      </p:grpSp>
    </p:spTree>
    <p:extLst>
      <p:ext uri="{BB962C8B-B14F-4D97-AF65-F5344CB8AC3E}">
        <p14:creationId xmlns:p14="http://schemas.microsoft.com/office/powerpoint/2010/main" val="42442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a:prstGeom prst="rect">
            <a:avLst/>
          </a:prstGeom>
        </p:spPr>
        <p:txBody>
          <a:bodyPr/>
          <a:lstStyle/>
          <a:p>
            <a:r>
              <a:rPr lang="en-US" dirty="0"/>
              <a:t>Confidential | Authorized </a:t>
            </a:r>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6.pn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image" Target="../media/image4.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8"/>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lang="en-US" dirty="0"/>
          </a:p>
        </p:txBody>
      </p:sp>
      <p:grpSp>
        <p:nvGrpSpPr>
          <p:cNvPr id="11" name="Logo">
            <a:extLst>
              <a:ext uri="{FF2B5EF4-FFF2-40B4-BE49-F238E27FC236}">
                <a16:creationId xmlns:a16="http://schemas.microsoft.com/office/drawing/2014/main" id="{993376A7-C8BF-4921-9342-AD196427017F}"/>
              </a:ext>
            </a:extLst>
          </p:cNvPr>
          <p:cNvGrpSpPr>
            <a:grpSpLocks noChangeAspect="1"/>
          </p:cNvGrpSpPr>
          <p:nvPr userDrawn="1"/>
        </p:nvGrpSpPr>
        <p:grpSpPr>
          <a:xfrm>
            <a:off x="382104" y="6186338"/>
            <a:ext cx="943200" cy="379942"/>
            <a:chOff x="393523" y="381956"/>
            <a:chExt cx="2218745" cy="893759"/>
          </a:xfrm>
        </p:grpSpPr>
        <p:sp>
          <p:nvSpPr>
            <p:cNvPr id="12" name="Element">
              <a:extLst>
                <a:ext uri="{FF2B5EF4-FFF2-40B4-BE49-F238E27FC236}">
                  <a16:creationId xmlns:a16="http://schemas.microsoft.com/office/drawing/2014/main" id="{C5CB9C74-B6E0-4ACA-98A4-DB9D05F60F95}"/>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3" name="Wordmark">
              <a:extLst>
                <a:ext uri="{FF2B5EF4-FFF2-40B4-BE49-F238E27FC236}">
                  <a16:creationId xmlns:a16="http://schemas.microsoft.com/office/drawing/2014/main" id="{3DA27363-978C-44A8-91BA-09FEEEA351C6}"/>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pic>
        <p:nvPicPr>
          <p:cNvPr id="4" name="Picture 10" descr="Scality: Object Storage &amp; Hybrid-Cloud Solutions Leader | Scality">
            <a:extLst>
              <a:ext uri="{FF2B5EF4-FFF2-40B4-BE49-F238E27FC236}">
                <a16:creationId xmlns:a16="http://schemas.microsoft.com/office/drawing/2014/main" id="{147D814C-1F84-36D9-75D7-B94F0282CC10}"/>
              </a:ext>
            </a:extLst>
          </p:cNvPr>
          <p:cNvPicPr>
            <a:picLocks noChangeAspect="1" noChangeArrowheads="1"/>
          </p:cNvPicPr>
          <p:nvPr userDrawn="1"/>
        </p:nvPicPr>
        <p:blipFill rotWithShape="1">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l="715" t="3141" r="-516" b="1603"/>
          <a:stretch/>
        </p:blipFill>
        <p:spPr bwMode="auto">
          <a:xfrm>
            <a:off x="6085331" y="6190708"/>
            <a:ext cx="1310560" cy="3761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a:extLst>
              <a:ext uri="{FF2B5EF4-FFF2-40B4-BE49-F238E27FC236}">
                <a16:creationId xmlns:a16="http://schemas.microsoft.com/office/drawing/2014/main" id="{C308501C-56EE-3333-221B-8AF9A2FAD1CE}"/>
              </a:ext>
            </a:extLst>
          </p:cNvPr>
          <p:cNvPicPr>
            <a:picLocks noChangeAspect="1" noChangeArrowheads="1"/>
          </p:cNvPicPr>
          <p:nvPr userDrawn="1"/>
        </p:nvPicPr>
        <p:blipFill>
          <a:blip r:embed="rId50" cstate="print">
            <a:extLst>
              <a:ext uri="{28A0092B-C50C-407E-A947-70E740481C1C}">
                <a14:useLocalDpi xmlns:a14="http://schemas.microsoft.com/office/drawing/2010/main" val="0"/>
              </a:ext>
            </a:extLst>
          </a:blip>
          <a:srcRect/>
          <a:stretch>
            <a:fillRect/>
          </a:stretch>
        </p:blipFill>
        <p:spPr bwMode="auto">
          <a:xfrm>
            <a:off x="4554986" y="6237607"/>
            <a:ext cx="1292344" cy="27563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a:extLst>
              <a:ext uri="{FF2B5EF4-FFF2-40B4-BE49-F238E27FC236}">
                <a16:creationId xmlns:a16="http://schemas.microsoft.com/office/drawing/2014/main" id="{56221A43-BE26-068D-6A9F-7F6896D09604}"/>
              </a:ext>
            </a:extLst>
          </p:cNvPr>
          <p:cNvPicPr>
            <a:picLocks noChangeAspect="1" noChangeArrowheads="1"/>
          </p:cNvPicPr>
          <p:nvPr userDrawn="1"/>
        </p:nvPicPr>
        <p:blipFill>
          <a:blip r:embed="rId51" cstate="print">
            <a:extLst>
              <a:ext uri="{28A0092B-C50C-407E-A947-70E740481C1C}">
                <a14:useLocalDpi xmlns:a14="http://schemas.microsoft.com/office/drawing/2010/main" val="0"/>
              </a:ext>
            </a:extLst>
          </a:blip>
          <a:srcRect/>
          <a:stretch>
            <a:fillRect/>
          </a:stretch>
        </p:blipFill>
        <p:spPr bwMode="auto">
          <a:xfrm>
            <a:off x="7647273" y="6271865"/>
            <a:ext cx="1255202" cy="22603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a:extLst>
              <a:ext uri="{FF2B5EF4-FFF2-40B4-BE49-F238E27FC236}">
                <a16:creationId xmlns:a16="http://schemas.microsoft.com/office/drawing/2014/main" id="{A5517448-242A-EAD8-23DD-BD15F6708B05}"/>
              </a:ext>
            </a:extLst>
          </p:cNvPr>
          <p:cNvPicPr>
            <a:picLocks noChangeAspect="1" noChangeArrowheads="1"/>
          </p:cNvPicPr>
          <p:nvPr userDrawn="1"/>
        </p:nvPicPr>
        <p:blipFill>
          <a:blip r:embed="rId52" cstate="print">
            <a:extLst>
              <a:ext uri="{28A0092B-C50C-407E-A947-70E740481C1C}">
                <a14:useLocalDpi xmlns:a14="http://schemas.microsoft.com/office/drawing/2010/main" val="0"/>
              </a:ext>
            </a:extLst>
          </a:blip>
          <a:srcRect/>
          <a:stretch>
            <a:fillRect/>
          </a:stretch>
        </p:blipFill>
        <p:spPr bwMode="auto">
          <a:xfrm>
            <a:off x="2989939" y="6199915"/>
            <a:ext cx="1260364" cy="3497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amd-logo">
            <a:extLst>
              <a:ext uri="{FF2B5EF4-FFF2-40B4-BE49-F238E27FC236}">
                <a16:creationId xmlns:a16="http://schemas.microsoft.com/office/drawing/2014/main" id="{965DDB82-6EF5-A35B-179A-B9FD5B27A840}"/>
              </a:ext>
            </a:extLst>
          </p:cNvPr>
          <p:cNvPicPr>
            <a:picLocks noChangeAspect="1" noChangeArrowheads="1"/>
          </p:cNvPicPr>
          <p:nvPr userDrawn="1"/>
        </p:nvPicPr>
        <p:blipFill rotWithShape="1">
          <a:blip r:embed="rId53" cstate="print">
            <a:extLst>
              <a:ext uri="{28A0092B-C50C-407E-A947-70E740481C1C}">
                <a14:useLocalDpi xmlns:a14="http://schemas.microsoft.com/office/drawing/2010/main" val="0"/>
              </a:ext>
            </a:extLst>
          </a:blip>
          <a:srcRect l="4198" t="35172" r="3671" b="35430"/>
          <a:stretch/>
        </p:blipFill>
        <p:spPr bwMode="auto">
          <a:xfrm>
            <a:off x="1600113" y="6241178"/>
            <a:ext cx="1102348" cy="263809"/>
          </a:xfrm>
          <a:prstGeom prst="rect">
            <a:avLst/>
          </a:prstGeom>
          <a:noFill/>
          <a:extLst>
            <a:ext uri="{909E8E84-426E-40DD-AFC4-6F175D3DCCD1}">
              <a14:hiddenFill xmlns:a14="http://schemas.microsoft.com/office/drawing/2010/main">
                <a:solidFill>
                  <a:srgbClr val="FFFFFF"/>
                </a:solidFill>
              </a14:hiddenFill>
            </a:ext>
          </a:extLst>
        </p:spPr>
      </p:pic>
      <p:sp>
        <p:nvSpPr>
          <p:cNvPr id="16" name="Divider">
            <a:extLst>
              <a:ext uri="{FF2B5EF4-FFF2-40B4-BE49-F238E27FC236}">
                <a16:creationId xmlns:a16="http://schemas.microsoft.com/office/drawing/2014/main" id="{FD5128EA-6B68-E40C-D100-D5251B16E7A5}"/>
              </a:ext>
            </a:extLst>
          </p:cNvPr>
          <p:cNvSpPr/>
          <p:nvPr userDrawn="1"/>
        </p:nvSpPr>
        <p:spPr>
          <a:xfrm>
            <a:off x="2831319" y="6184675"/>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dirty="0" err="1">
              <a:solidFill>
                <a:schemeClr val="bg1"/>
              </a:solidFill>
            </a:endParaRPr>
          </a:p>
        </p:txBody>
      </p:sp>
      <p:sp>
        <p:nvSpPr>
          <p:cNvPr id="17" name="Divider">
            <a:extLst>
              <a:ext uri="{FF2B5EF4-FFF2-40B4-BE49-F238E27FC236}">
                <a16:creationId xmlns:a16="http://schemas.microsoft.com/office/drawing/2014/main" id="{AC3F0FA3-3BB3-9BB7-DD94-6ABAF6FE05BF}"/>
              </a:ext>
            </a:extLst>
          </p:cNvPr>
          <p:cNvSpPr/>
          <p:nvPr userDrawn="1"/>
        </p:nvSpPr>
        <p:spPr>
          <a:xfrm>
            <a:off x="4396468" y="6188276"/>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dirty="0" err="1">
              <a:solidFill>
                <a:schemeClr val="bg1"/>
              </a:solidFill>
            </a:endParaRPr>
          </a:p>
        </p:txBody>
      </p:sp>
      <p:sp>
        <p:nvSpPr>
          <p:cNvPr id="18" name="Divider">
            <a:extLst>
              <a:ext uri="{FF2B5EF4-FFF2-40B4-BE49-F238E27FC236}">
                <a16:creationId xmlns:a16="http://schemas.microsoft.com/office/drawing/2014/main" id="{44784E05-774B-030F-9760-7EA75DCAC8A5}"/>
              </a:ext>
            </a:extLst>
          </p:cNvPr>
          <p:cNvSpPr/>
          <p:nvPr userDrawn="1"/>
        </p:nvSpPr>
        <p:spPr>
          <a:xfrm>
            <a:off x="5985284" y="6191560"/>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dirty="0" err="1">
              <a:solidFill>
                <a:schemeClr val="bg1"/>
              </a:solidFill>
            </a:endParaRPr>
          </a:p>
        </p:txBody>
      </p:sp>
      <p:sp>
        <p:nvSpPr>
          <p:cNvPr id="19" name="Divider">
            <a:extLst>
              <a:ext uri="{FF2B5EF4-FFF2-40B4-BE49-F238E27FC236}">
                <a16:creationId xmlns:a16="http://schemas.microsoft.com/office/drawing/2014/main" id="{8711DC0A-7FDD-506B-2885-847864BB4C7B}"/>
              </a:ext>
            </a:extLst>
          </p:cNvPr>
          <p:cNvSpPr/>
          <p:nvPr userDrawn="1"/>
        </p:nvSpPr>
        <p:spPr>
          <a:xfrm>
            <a:off x="7500389" y="6184466"/>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dirty="0" err="1">
              <a:solidFill>
                <a:schemeClr val="bg1"/>
              </a:solidFill>
            </a:endParaRPr>
          </a:p>
        </p:txBody>
      </p:sp>
      <p:sp>
        <p:nvSpPr>
          <p:cNvPr id="20" name="Divider">
            <a:extLst>
              <a:ext uri="{FF2B5EF4-FFF2-40B4-BE49-F238E27FC236}">
                <a16:creationId xmlns:a16="http://schemas.microsoft.com/office/drawing/2014/main" id="{DA95FB59-01A3-5157-DA8F-002C9FDED30C}"/>
              </a:ext>
            </a:extLst>
          </p:cNvPr>
          <p:cNvSpPr/>
          <p:nvPr userDrawn="1"/>
        </p:nvSpPr>
        <p:spPr>
          <a:xfrm>
            <a:off x="1475040" y="6187441"/>
            <a:ext cx="4567" cy="373006"/>
          </a:xfrm>
          <a:prstGeom prst="rect">
            <a:avLst/>
          </a:prstGeom>
          <a:solidFill>
            <a:schemeClr val="tx1"/>
          </a:solidFill>
          <a:ln w="114300">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274320" bIns="274320" rtlCol="0" anchor="ctr"/>
          <a:lstStyle/>
          <a:p>
            <a:pPr algn="ctr">
              <a:lnSpc>
                <a:spcPct val="90000"/>
              </a:lnSpc>
              <a:spcAft>
                <a:spcPts val="1600"/>
              </a:spcAft>
            </a:pPr>
            <a:endParaRPr lang="en-US" sz="3600" dirty="0" err="1">
              <a:solidFill>
                <a:schemeClr val="bg1"/>
              </a:solidFill>
            </a:endParaRPr>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702" r:id="rId2"/>
    <p:sldLayoutId id="2147483701" r:id="rId3"/>
    <p:sldLayoutId id="2147483705" r:id="rId4"/>
    <p:sldLayoutId id="2147483661" r:id="rId5"/>
    <p:sldLayoutId id="2147483662" r:id="rId6"/>
    <p:sldLayoutId id="2147483663" r:id="rId7"/>
    <p:sldLayoutId id="2147483685" r:id="rId8"/>
    <p:sldLayoutId id="2147483686" r:id="rId9"/>
    <p:sldLayoutId id="2147483666" r:id="rId10"/>
    <p:sldLayoutId id="2147483756" r:id="rId11"/>
    <p:sldLayoutId id="2147483668" r:id="rId12"/>
    <p:sldLayoutId id="2147483669" r:id="rId13"/>
    <p:sldLayoutId id="2147483652" r:id="rId14"/>
    <p:sldLayoutId id="2147483698" r:id="rId15"/>
    <p:sldLayoutId id="2147483755" r:id="rId16"/>
    <p:sldLayoutId id="2147483670" r:id="rId17"/>
    <p:sldLayoutId id="2147483671" r:id="rId18"/>
    <p:sldLayoutId id="2147483699" r:id="rId19"/>
    <p:sldLayoutId id="2147483672" r:id="rId20"/>
    <p:sldLayoutId id="2147483673" r:id="rId21"/>
    <p:sldLayoutId id="2147483654" r:id="rId22"/>
    <p:sldLayoutId id="2147483679" r:id="rId23"/>
    <p:sldLayoutId id="2147483688" r:id="rId24"/>
    <p:sldLayoutId id="2147483689" r:id="rId25"/>
    <p:sldLayoutId id="2147483690" r:id="rId26"/>
    <p:sldLayoutId id="2147483691" r:id="rId27"/>
    <p:sldLayoutId id="2147483692" r:id="rId28"/>
    <p:sldLayoutId id="2147483693" r:id="rId29"/>
    <p:sldLayoutId id="2147483694" r:id="rId30"/>
    <p:sldLayoutId id="2147483656" r:id="rId31"/>
    <p:sldLayoutId id="2147483657" r:id="rId32"/>
    <p:sldLayoutId id="2147483758" r:id="rId33"/>
    <p:sldLayoutId id="2147483697" r:id="rId34"/>
    <p:sldLayoutId id="2147483676" r:id="rId35"/>
    <p:sldLayoutId id="2147483677" r:id="rId36"/>
    <p:sldLayoutId id="2147483706" r:id="rId37"/>
    <p:sldLayoutId id="2147483707" r:id="rId38"/>
    <p:sldLayoutId id="2147483704" r:id="rId39"/>
    <p:sldLayoutId id="2147483752" r:id="rId40"/>
    <p:sldLayoutId id="2147483753" r:id="rId41"/>
    <p:sldLayoutId id="2147483703" r:id="rId42"/>
    <p:sldLayoutId id="2147483757" r:id="rId43"/>
    <p:sldLayoutId id="2147483700" r:id="rId44"/>
    <p:sldLayoutId id="2147483759" r:id="rId45"/>
    <p:sldLayoutId id="2147483760"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userDrawn="1">
          <p15:clr>
            <a:srgbClr val="F26B43"/>
          </p15:clr>
        </p15:guide>
        <p15:guide id="3" pos="240" userDrawn="1">
          <p15:clr>
            <a:srgbClr val="F26B43"/>
          </p15:clr>
        </p15:guide>
        <p15:guide id="4" pos="7423" userDrawn="1">
          <p15:clr>
            <a:srgbClr val="F26B43"/>
          </p15:clr>
        </p15:guide>
        <p15:guide id="5" orient="horz" pos="432" userDrawn="1">
          <p15:clr>
            <a:srgbClr val="F26B43"/>
          </p15:clr>
        </p15:guide>
        <p15:guide id="6" orient="horz" pos="3884" userDrawn="1">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22.xml"/><Relationship Id="rId5" Type="http://schemas.openxmlformats.org/officeDocument/2006/relationships/image" Target="../media/image115.tiff"/><Relationship Id="rId4" Type="http://schemas.openxmlformats.org/officeDocument/2006/relationships/image" Target="../media/image114.png"/></Relationships>
</file>

<file path=ppt/slides/_rels/slide1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image" Target="../media/image116.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29.png"/><Relationship Id="rId2" Type="http://schemas.openxmlformats.org/officeDocument/2006/relationships/notesSlide" Target="../notesSlides/notesSlide10.xml"/><Relationship Id="rId16" Type="http://schemas.openxmlformats.org/officeDocument/2006/relationships/image" Target="../media/image128.png"/><Relationship Id="rId1" Type="http://schemas.openxmlformats.org/officeDocument/2006/relationships/slideLayout" Target="../slideLayouts/slideLayout22.xml"/><Relationship Id="rId6" Type="http://schemas.openxmlformats.org/officeDocument/2006/relationships/image" Target="../media/image119.png"/><Relationship Id="rId11" Type="http://schemas.openxmlformats.org/officeDocument/2006/relationships/image" Target="../media/image124.png"/><Relationship Id="rId5" Type="http://schemas.openxmlformats.org/officeDocument/2006/relationships/image" Target="../media/image118.jpeg"/><Relationship Id="rId15" Type="http://schemas.openxmlformats.org/officeDocument/2006/relationships/image" Target="../media/image127.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png"/><Relationship Id="rId1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130.png"/><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5.xml"/><Relationship Id="rId5" Type="http://schemas.openxmlformats.org/officeDocument/2006/relationships/image" Target="../media/image131.png"/><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2.xml"/><Relationship Id="rId1" Type="http://schemas.openxmlformats.org/officeDocument/2006/relationships/tags" Target="../tags/tag6.xml"/><Relationship Id="rId5" Type="http://schemas.openxmlformats.org/officeDocument/2006/relationships/image" Target="../media/image132.png"/><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6.xml"/><Relationship Id="rId1" Type="http://schemas.openxmlformats.org/officeDocument/2006/relationships/slideLayout" Target="../slideLayouts/slideLayout43.xml"/><Relationship Id="rId5" Type="http://schemas.openxmlformats.org/officeDocument/2006/relationships/image" Target="../media/image134.png"/><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image" Target="../media/image70.emf"/><Relationship Id="rId4" Type="http://schemas.openxmlformats.org/officeDocument/2006/relationships/image" Target="../media/image136.emf"/></Relationships>
</file>

<file path=ppt/slides/_rels/slide19.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8.svg"/><Relationship Id="rId7" Type="http://schemas.openxmlformats.org/officeDocument/2006/relationships/image" Target="../media/image142.svg"/><Relationship Id="rId12" Type="http://schemas.openxmlformats.org/officeDocument/2006/relationships/image" Target="../media/image147.png"/><Relationship Id="rId17" Type="http://schemas.openxmlformats.org/officeDocument/2006/relationships/image" Target="../media/image152.jpeg"/><Relationship Id="rId2" Type="http://schemas.openxmlformats.org/officeDocument/2006/relationships/image" Target="../media/image137.png"/><Relationship Id="rId16" Type="http://schemas.openxmlformats.org/officeDocument/2006/relationships/image" Target="../media/image151.jpeg"/><Relationship Id="rId1" Type="http://schemas.openxmlformats.org/officeDocument/2006/relationships/slideLayout" Target="../slideLayouts/slideLayout23.xml"/><Relationship Id="rId6" Type="http://schemas.openxmlformats.org/officeDocument/2006/relationships/image" Target="../media/image141.png"/><Relationship Id="rId11" Type="http://schemas.openxmlformats.org/officeDocument/2006/relationships/image" Target="../media/image146.svg"/><Relationship Id="rId5" Type="http://schemas.openxmlformats.org/officeDocument/2006/relationships/image" Target="../media/image140.svg"/><Relationship Id="rId15" Type="http://schemas.openxmlformats.org/officeDocument/2006/relationships/image" Target="../media/image150.jpe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svg"/><Relationship Id="rId14" Type="http://schemas.openxmlformats.org/officeDocument/2006/relationships/image" Target="../media/image149.jpe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0.xml"/><Relationship Id="rId1" Type="http://schemas.openxmlformats.org/officeDocument/2006/relationships/tags" Target="../tags/tag7.xml"/><Relationship Id="rId4" Type="http://schemas.openxmlformats.org/officeDocument/2006/relationships/image" Target="../media/image153.png"/></Relationships>
</file>

<file path=ppt/slides/_rels/slide21.xml.rels><?xml version="1.0" encoding="UTF-8" standalone="yes"?>
<Relationships xmlns="http://schemas.openxmlformats.org/package/2006/relationships"><Relationship Id="rId13" Type="http://schemas.openxmlformats.org/officeDocument/2006/relationships/image" Target="../media/image161.png"/><Relationship Id="rId18" Type="http://schemas.openxmlformats.org/officeDocument/2006/relationships/image" Target="../media/image166.jpeg"/><Relationship Id="rId26" Type="http://schemas.openxmlformats.org/officeDocument/2006/relationships/image" Target="../media/image174.png"/><Relationship Id="rId39" Type="http://schemas.openxmlformats.org/officeDocument/2006/relationships/image" Target="../media/image187.png"/><Relationship Id="rId21" Type="http://schemas.openxmlformats.org/officeDocument/2006/relationships/image" Target="../media/image169.gif"/><Relationship Id="rId34" Type="http://schemas.openxmlformats.org/officeDocument/2006/relationships/image" Target="../media/image182.tiff"/><Relationship Id="rId42" Type="http://schemas.openxmlformats.org/officeDocument/2006/relationships/image" Target="../media/image190.jpeg"/><Relationship Id="rId47" Type="http://schemas.openxmlformats.org/officeDocument/2006/relationships/image" Target="../media/image195.emf"/><Relationship Id="rId7" Type="http://schemas.openxmlformats.org/officeDocument/2006/relationships/image" Target="../media/image155.png"/><Relationship Id="rId2" Type="http://schemas.openxmlformats.org/officeDocument/2006/relationships/slideLayout" Target="../slideLayouts/slideLayout22.xml"/><Relationship Id="rId16" Type="http://schemas.openxmlformats.org/officeDocument/2006/relationships/image" Target="../media/image164.png"/><Relationship Id="rId29" Type="http://schemas.openxmlformats.org/officeDocument/2006/relationships/image" Target="../media/image177.png"/><Relationship Id="rId1" Type="http://schemas.openxmlformats.org/officeDocument/2006/relationships/tags" Target="../tags/tag8.xml"/><Relationship Id="rId6" Type="http://schemas.openxmlformats.org/officeDocument/2006/relationships/image" Target="../media/image154.png"/><Relationship Id="rId11" Type="http://schemas.openxmlformats.org/officeDocument/2006/relationships/image" Target="../media/image159.png"/><Relationship Id="rId24" Type="http://schemas.openxmlformats.org/officeDocument/2006/relationships/image" Target="../media/image172.png"/><Relationship Id="rId32" Type="http://schemas.openxmlformats.org/officeDocument/2006/relationships/image" Target="../media/image180.png"/><Relationship Id="rId37" Type="http://schemas.openxmlformats.org/officeDocument/2006/relationships/image" Target="../media/image185.png"/><Relationship Id="rId40" Type="http://schemas.openxmlformats.org/officeDocument/2006/relationships/image" Target="../media/image188.png"/><Relationship Id="rId45" Type="http://schemas.openxmlformats.org/officeDocument/2006/relationships/image" Target="../media/image193.png"/><Relationship Id="rId5" Type="http://schemas.openxmlformats.org/officeDocument/2006/relationships/image" Target="../media/image13.emf"/><Relationship Id="rId15" Type="http://schemas.openxmlformats.org/officeDocument/2006/relationships/image" Target="../media/image163.png"/><Relationship Id="rId23" Type="http://schemas.openxmlformats.org/officeDocument/2006/relationships/image" Target="../media/image171.jpeg"/><Relationship Id="rId28" Type="http://schemas.openxmlformats.org/officeDocument/2006/relationships/image" Target="../media/image176.png"/><Relationship Id="rId36" Type="http://schemas.openxmlformats.org/officeDocument/2006/relationships/image" Target="../media/image184.png"/><Relationship Id="rId10" Type="http://schemas.openxmlformats.org/officeDocument/2006/relationships/image" Target="../media/image158.png"/><Relationship Id="rId19" Type="http://schemas.openxmlformats.org/officeDocument/2006/relationships/image" Target="../media/image167.png"/><Relationship Id="rId31" Type="http://schemas.openxmlformats.org/officeDocument/2006/relationships/image" Target="../media/image179.jpeg"/><Relationship Id="rId44" Type="http://schemas.openxmlformats.org/officeDocument/2006/relationships/image" Target="../media/image192.png"/><Relationship Id="rId4" Type="http://schemas.openxmlformats.org/officeDocument/2006/relationships/oleObject" Target="../embeddings/oleObject3.bin"/><Relationship Id="rId9" Type="http://schemas.openxmlformats.org/officeDocument/2006/relationships/image" Target="../media/image157.png"/><Relationship Id="rId14" Type="http://schemas.openxmlformats.org/officeDocument/2006/relationships/image" Target="../media/image162.png"/><Relationship Id="rId22" Type="http://schemas.openxmlformats.org/officeDocument/2006/relationships/image" Target="../media/image170.png"/><Relationship Id="rId27" Type="http://schemas.openxmlformats.org/officeDocument/2006/relationships/image" Target="../media/image175.png"/><Relationship Id="rId30" Type="http://schemas.openxmlformats.org/officeDocument/2006/relationships/image" Target="../media/image178.png"/><Relationship Id="rId35" Type="http://schemas.openxmlformats.org/officeDocument/2006/relationships/image" Target="../media/image183.tiff"/><Relationship Id="rId43" Type="http://schemas.openxmlformats.org/officeDocument/2006/relationships/image" Target="../media/image191.png"/><Relationship Id="rId8" Type="http://schemas.openxmlformats.org/officeDocument/2006/relationships/image" Target="../media/image156.png"/><Relationship Id="rId3" Type="http://schemas.openxmlformats.org/officeDocument/2006/relationships/notesSlide" Target="../notesSlides/notesSlide19.xml"/><Relationship Id="rId12" Type="http://schemas.openxmlformats.org/officeDocument/2006/relationships/image" Target="../media/image160.png"/><Relationship Id="rId17" Type="http://schemas.openxmlformats.org/officeDocument/2006/relationships/image" Target="../media/image165.png"/><Relationship Id="rId25" Type="http://schemas.openxmlformats.org/officeDocument/2006/relationships/image" Target="../media/image173.png"/><Relationship Id="rId33" Type="http://schemas.openxmlformats.org/officeDocument/2006/relationships/image" Target="../media/image181.tiff"/><Relationship Id="rId38" Type="http://schemas.openxmlformats.org/officeDocument/2006/relationships/image" Target="../media/image186.png"/><Relationship Id="rId46" Type="http://schemas.openxmlformats.org/officeDocument/2006/relationships/image" Target="../media/image194.jpeg"/><Relationship Id="rId20" Type="http://schemas.openxmlformats.org/officeDocument/2006/relationships/image" Target="../media/image168.jpeg"/><Relationship Id="rId41" Type="http://schemas.openxmlformats.org/officeDocument/2006/relationships/image" Target="../media/image189.png"/></Relationships>
</file>

<file path=ppt/slides/_rels/slide22.xml.rels><?xml version="1.0" encoding="UTF-8" standalone="yes"?>
<Relationships xmlns="http://schemas.openxmlformats.org/package/2006/relationships"><Relationship Id="rId3" Type="http://schemas.openxmlformats.org/officeDocument/2006/relationships/hyperlink" Target="mailto:michal.kolodziej@hpe.com" TargetMode="External"/><Relationship Id="rId2" Type="http://schemas.openxmlformats.org/officeDocument/2006/relationships/image" Target="../media/image10.jpg"/><Relationship Id="rId1" Type="http://schemas.openxmlformats.org/officeDocument/2006/relationships/slideLayout" Target="../slideLayouts/slideLayout44.xml"/><Relationship Id="rId4" Type="http://schemas.openxmlformats.org/officeDocument/2006/relationships/hyperlink" Target="mailto:longin.mikolajczyk@hpe.com" TargetMode="External"/></Relationships>
</file>

<file path=ppt/slides/_rels/slide3.xml.rels><?xml version="1.0" encoding="UTF-8" standalone="yes"?>
<Relationships xmlns="http://schemas.openxmlformats.org/package/2006/relationships"><Relationship Id="rId13" Type="http://schemas.openxmlformats.org/officeDocument/2006/relationships/image" Target="../media/image20.png"/><Relationship Id="rId18" Type="http://schemas.openxmlformats.org/officeDocument/2006/relationships/image" Target="../media/image25.svg"/><Relationship Id="rId26" Type="http://schemas.openxmlformats.org/officeDocument/2006/relationships/image" Target="../media/image33.svg"/><Relationship Id="rId39" Type="http://schemas.openxmlformats.org/officeDocument/2006/relationships/image" Target="../media/image46.png"/><Relationship Id="rId21" Type="http://schemas.openxmlformats.org/officeDocument/2006/relationships/image" Target="../media/image28.png"/><Relationship Id="rId34" Type="http://schemas.openxmlformats.org/officeDocument/2006/relationships/image" Target="../media/image41.svg"/><Relationship Id="rId42" Type="http://schemas.openxmlformats.org/officeDocument/2006/relationships/image" Target="../media/image49.svg"/><Relationship Id="rId47" Type="http://schemas.openxmlformats.org/officeDocument/2006/relationships/image" Target="../media/image54.png"/><Relationship Id="rId50" Type="http://schemas.openxmlformats.org/officeDocument/2006/relationships/image" Target="../media/image57.svg"/><Relationship Id="rId55" Type="http://schemas.openxmlformats.org/officeDocument/2006/relationships/image" Target="../media/image62.png"/><Relationship Id="rId7" Type="http://schemas.openxmlformats.org/officeDocument/2006/relationships/image" Target="../media/image14.png"/><Relationship Id="rId2" Type="http://schemas.openxmlformats.org/officeDocument/2006/relationships/slideLayout" Target="../slideLayouts/slideLayout11.xml"/><Relationship Id="rId16" Type="http://schemas.openxmlformats.org/officeDocument/2006/relationships/image" Target="../media/image23.svg"/><Relationship Id="rId29" Type="http://schemas.openxmlformats.org/officeDocument/2006/relationships/image" Target="../media/image36.png"/><Relationship Id="rId11" Type="http://schemas.openxmlformats.org/officeDocument/2006/relationships/image" Target="../media/image18.png"/><Relationship Id="rId24" Type="http://schemas.openxmlformats.org/officeDocument/2006/relationships/image" Target="../media/image31.svg"/><Relationship Id="rId32" Type="http://schemas.openxmlformats.org/officeDocument/2006/relationships/image" Target="../media/image39.svg"/><Relationship Id="rId37" Type="http://schemas.openxmlformats.org/officeDocument/2006/relationships/image" Target="../media/image44.png"/><Relationship Id="rId40" Type="http://schemas.openxmlformats.org/officeDocument/2006/relationships/image" Target="../media/image47.svg"/><Relationship Id="rId45" Type="http://schemas.openxmlformats.org/officeDocument/2006/relationships/image" Target="../media/image52.png"/><Relationship Id="rId53" Type="http://schemas.openxmlformats.org/officeDocument/2006/relationships/image" Target="../media/image60.png"/><Relationship Id="rId58" Type="http://schemas.openxmlformats.org/officeDocument/2006/relationships/image" Target="../media/image65.svg"/><Relationship Id="rId5" Type="http://schemas.openxmlformats.org/officeDocument/2006/relationships/image" Target="../media/image13.emf"/><Relationship Id="rId61" Type="http://schemas.openxmlformats.org/officeDocument/2006/relationships/image" Target="../media/image68.emf"/><Relationship Id="rId19" Type="http://schemas.openxmlformats.org/officeDocument/2006/relationships/image" Target="../media/image26.png"/><Relationship Id="rId14" Type="http://schemas.openxmlformats.org/officeDocument/2006/relationships/image" Target="../media/image21.svg"/><Relationship Id="rId22" Type="http://schemas.openxmlformats.org/officeDocument/2006/relationships/image" Target="../media/image29.svg"/><Relationship Id="rId27" Type="http://schemas.openxmlformats.org/officeDocument/2006/relationships/image" Target="../media/image34.png"/><Relationship Id="rId30" Type="http://schemas.openxmlformats.org/officeDocument/2006/relationships/image" Target="../media/image37.svg"/><Relationship Id="rId35" Type="http://schemas.openxmlformats.org/officeDocument/2006/relationships/image" Target="../media/image42.png"/><Relationship Id="rId43" Type="http://schemas.openxmlformats.org/officeDocument/2006/relationships/image" Target="../media/image50.png"/><Relationship Id="rId48" Type="http://schemas.openxmlformats.org/officeDocument/2006/relationships/image" Target="../media/image55.svg"/><Relationship Id="rId56" Type="http://schemas.openxmlformats.org/officeDocument/2006/relationships/image" Target="../media/image63.svg"/><Relationship Id="rId8" Type="http://schemas.openxmlformats.org/officeDocument/2006/relationships/image" Target="../media/image15.svg"/><Relationship Id="rId51" Type="http://schemas.openxmlformats.org/officeDocument/2006/relationships/image" Target="../media/image58.png"/><Relationship Id="rId3" Type="http://schemas.openxmlformats.org/officeDocument/2006/relationships/notesSlide" Target="../notesSlides/notesSlide2.xml"/><Relationship Id="rId12" Type="http://schemas.openxmlformats.org/officeDocument/2006/relationships/image" Target="../media/image19.svg"/><Relationship Id="rId17" Type="http://schemas.openxmlformats.org/officeDocument/2006/relationships/image" Target="../media/image24.png"/><Relationship Id="rId25" Type="http://schemas.openxmlformats.org/officeDocument/2006/relationships/image" Target="../media/image32.png"/><Relationship Id="rId33" Type="http://schemas.openxmlformats.org/officeDocument/2006/relationships/image" Target="../media/image40.png"/><Relationship Id="rId38" Type="http://schemas.openxmlformats.org/officeDocument/2006/relationships/image" Target="../media/image45.svg"/><Relationship Id="rId46" Type="http://schemas.openxmlformats.org/officeDocument/2006/relationships/image" Target="../media/image53.svg"/><Relationship Id="rId59" Type="http://schemas.openxmlformats.org/officeDocument/2006/relationships/image" Target="../media/image66.png"/><Relationship Id="rId20" Type="http://schemas.openxmlformats.org/officeDocument/2006/relationships/image" Target="../media/image27.svg"/><Relationship Id="rId41" Type="http://schemas.openxmlformats.org/officeDocument/2006/relationships/image" Target="../media/image48.png"/><Relationship Id="rId54" Type="http://schemas.openxmlformats.org/officeDocument/2006/relationships/image" Target="../media/image61.svg"/><Relationship Id="rId1" Type="http://schemas.openxmlformats.org/officeDocument/2006/relationships/tags" Target="../tags/tag2.xml"/><Relationship Id="rId6" Type="http://schemas.openxmlformats.org/officeDocument/2006/relationships/image" Target="../media/image1.png"/><Relationship Id="rId15" Type="http://schemas.openxmlformats.org/officeDocument/2006/relationships/image" Target="../media/image22.png"/><Relationship Id="rId23" Type="http://schemas.openxmlformats.org/officeDocument/2006/relationships/image" Target="../media/image30.png"/><Relationship Id="rId28" Type="http://schemas.openxmlformats.org/officeDocument/2006/relationships/image" Target="../media/image35.svg"/><Relationship Id="rId36" Type="http://schemas.openxmlformats.org/officeDocument/2006/relationships/image" Target="../media/image43.svg"/><Relationship Id="rId49" Type="http://schemas.openxmlformats.org/officeDocument/2006/relationships/image" Target="../media/image56.png"/><Relationship Id="rId57" Type="http://schemas.openxmlformats.org/officeDocument/2006/relationships/image" Target="../media/image64.png"/><Relationship Id="rId10" Type="http://schemas.openxmlformats.org/officeDocument/2006/relationships/image" Target="../media/image17.svg"/><Relationship Id="rId31" Type="http://schemas.openxmlformats.org/officeDocument/2006/relationships/image" Target="../media/image38.png"/><Relationship Id="rId44" Type="http://schemas.openxmlformats.org/officeDocument/2006/relationships/image" Target="../media/image51.svg"/><Relationship Id="rId52" Type="http://schemas.openxmlformats.org/officeDocument/2006/relationships/image" Target="../media/image59.svg"/><Relationship Id="rId60" Type="http://schemas.openxmlformats.org/officeDocument/2006/relationships/image" Target="../media/image67.svg"/><Relationship Id="rId4" Type="http://schemas.openxmlformats.org/officeDocument/2006/relationships/oleObject" Target="../embeddings/oleObject1.bin"/><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73.emf"/><Relationship Id="rId13" Type="http://schemas.openxmlformats.org/officeDocument/2006/relationships/image" Target="../media/image78.png"/><Relationship Id="rId3" Type="http://schemas.openxmlformats.org/officeDocument/2006/relationships/chart" Target="../charts/chart1.xml"/><Relationship Id="rId7" Type="http://schemas.openxmlformats.org/officeDocument/2006/relationships/image" Target="../media/image72.emf"/><Relationship Id="rId12" Type="http://schemas.openxmlformats.org/officeDocument/2006/relationships/image" Target="../media/image77.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71.emf"/><Relationship Id="rId11" Type="http://schemas.openxmlformats.org/officeDocument/2006/relationships/image" Target="../media/image76.png"/><Relationship Id="rId5" Type="http://schemas.openxmlformats.org/officeDocument/2006/relationships/image" Target="../media/image70.emf"/><Relationship Id="rId15" Type="http://schemas.openxmlformats.org/officeDocument/2006/relationships/image" Target="../media/image80.tiff"/><Relationship Id="rId10" Type="http://schemas.openxmlformats.org/officeDocument/2006/relationships/image" Target="../media/image75.png"/><Relationship Id="rId4" Type="http://schemas.openxmlformats.org/officeDocument/2006/relationships/chart" Target="../charts/chart2.xml"/><Relationship Id="rId9" Type="http://schemas.openxmlformats.org/officeDocument/2006/relationships/image" Target="../media/image74.emf"/><Relationship Id="rId14" Type="http://schemas.openxmlformats.org/officeDocument/2006/relationships/image" Target="../media/image79.png"/></Relationships>
</file>

<file path=ppt/slides/_rels/slide6.xml.rels><?xml version="1.0" encoding="UTF-8" standalone="yes"?>
<Relationships xmlns="http://schemas.openxmlformats.org/package/2006/relationships"><Relationship Id="rId8" Type="http://schemas.openxmlformats.org/officeDocument/2006/relationships/image" Target="../media/image86.tiff"/><Relationship Id="rId13" Type="http://schemas.openxmlformats.org/officeDocument/2006/relationships/image" Target="../media/image91.tiff"/><Relationship Id="rId18" Type="http://schemas.openxmlformats.org/officeDocument/2006/relationships/image" Target="../media/image96.tiff"/><Relationship Id="rId3" Type="http://schemas.openxmlformats.org/officeDocument/2006/relationships/image" Target="../media/image81.png"/><Relationship Id="rId21" Type="http://schemas.openxmlformats.org/officeDocument/2006/relationships/image" Target="../media/image99.jpeg"/><Relationship Id="rId7" Type="http://schemas.openxmlformats.org/officeDocument/2006/relationships/image" Target="../media/image85.tiff"/><Relationship Id="rId12" Type="http://schemas.openxmlformats.org/officeDocument/2006/relationships/image" Target="../media/image90.tiff"/><Relationship Id="rId17" Type="http://schemas.openxmlformats.org/officeDocument/2006/relationships/image" Target="../media/image95.tiff"/><Relationship Id="rId2" Type="http://schemas.openxmlformats.org/officeDocument/2006/relationships/notesSlide" Target="../notesSlides/notesSlide5.xml"/><Relationship Id="rId16" Type="http://schemas.openxmlformats.org/officeDocument/2006/relationships/image" Target="../media/image94.tiff"/><Relationship Id="rId20" Type="http://schemas.openxmlformats.org/officeDocument/2006/relationships/image" Target="../media/image98.png"/><Relationship Id="rId1" Type="http://schemas.openxmlformats.org/officeDocument/2006/relationships/slideLayout" Target="../slideLayouts/slideLayout22.xml"/><Relationship Id="rId6" Type="http://schemas.openxmlformats.org/officeDocument/2006/relationships/image" Target="../media/image84.tiff"/><Relationship Id="rId11" Type="http://schemas.openxmlformats.org/officeDocument/2006/relationships/image" Target="../media/image89.tiff"/><Relationship Id="rId5" Type="http://schemas.openxmlformats.org/officeDocument/2006/relationships/image" Target="../media/image83.jpeg"/><Relationship Id="rId15" Type="http://schemas.openxmlformats.org/officeDocument/2006/relationships/image" Target="../media/image93.tiff"/><Relationship Id="rId10" Type="http://schemas.openxmlformats.org/officeDocument/2006/relationships/image" Target="../media/image88.tiff"/><Relationship Id="rId19" Type="http://schemas.openxmlformats.org/officeDocument/2006/relationships/image" Target="../media/image97.jpeg"/><Relationship Id="rId4" Type="http://schemas.openxmlformats.org/officeDocument/2006/relationships/image" Target="../media/image82.tiff"/><Relationship Id="rId9" Type="http://schemas.openxmlformats.org/officeDocument/2006/relationships/image" Target="../media/image87.tiff"/><Relationship Id="rId14" Type="http://schemas.openxmlformats.org/officeDocument/2006/relationships/image" Target="../media/image92.tiff"/></Relationships>
</file>

<file path=ppt/slides/_rels/slide7.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image" Target="../media/image100.emf"/><Relationship Id="rId7" Type="http://schemas.openxmlformats.org/officeDocument/2006/relationships/image" Target="../media/image104.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emf"/><Relationship Id="rId9" Type="http://schemas.openxmlformats.org/officeDocument/2006/relationships/image" Target="../media/image106.emf"/></Relationships>
</file>

<file path=ppt/slides/_rels/slide8.xml.rels><?xml version="1.0" encoding="UTF-8" standalone="yes"?>
<Relationships xmlns="http://schemas.openxmlformats.org/package/2006/relationships"><Relationship Id="rId8" Type="http://schemas.openxmlformats.org/officeDocument/2006/relationships/image" Target="../media/image110.emf"/><Relationship Id="rId3" Type="http://schemas.openxmlformats.org/officeDocument/2006/relationships/notesSlide" Target="../notesSlides/notesSlide7.xml"/><Relationship Id="rId7" Type="http://schemas.openxmlformats.org/officeDocument/2006/relationships/image" Target="../media/image109.png"/><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image" Target="../media/image108.png"/><Relationship Id="rId11" Type="http://schemas.openxmlformats.org/officeDocument/2006/relationships/image" Target="../media/image112.emf"/><Relationship Id="rId5" Type="http://schemas.openxmlformats.org/officeDocument/2006/relationships/image" Target="../media/image107.emf"/><Relationship Id="rId10" Type="http://schemas.openxmlformats.org/officeDocument/2006/relationships/image" Target="../media/image111.emf"/><Relationship Id="rId4" Type="http://schemas.openxmlformats.org/officeDocument/2006/relationships/oleObject" Target="../embeddings/oleObject2.bin"/><Relationship Id="rId9" Type="http://schemas.openxmlformats.org/officeDocument/2006/relationships/image" Target="../media/image74.emf"/></Relationships>
</file>

<file path=ppt/slides/_rels/slide9.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a:extLst>
              <a:ext uri="{FF2B5EF4-FFF2-40B4-BE49-F238E27FC236}">
                <a16:creationId xmlns:a16="http://schemas.microsoft.com/office/drawing/2014/main" id="{F05E50B2-AB22-4A7A-83F4-EBD278039190}"/>
              </a:ext>
            </a:extLst>
          </p:cNvPr>
          <p:cNvSpPr>
            <a:spLocks noGrp="1"/>
          </p:cNvSpPr>
          <p:nvPr>
            <p:ph type="body" sz="quarter" idx="13"/>
          </p:nvPr>
        </p:nvSpPr>
        <p:spPr/>
        <p:txBody>
          <a:bodyPr/>
          <a:lstStyle/>
          <a:p>
            <a:r>
              <a:rPr lang="pl-PL" sz="1800" dirty="0"/>
              <a:t>20 czerwca 2024, Łódź</a:t>
            </a:r>
            <a:endParaRPr lang="en-US" sz="1800" dirty="0"/>
          </a:p>
        </p:txBody>
      </p:sp>
      <p:sp>
        <p:nvSpPr>
          <p:cNvPr id="3" name="Subtitle">
            <a:extLst>
              <a:ext uri="{FF2B5EF4-FFF2-40B4-BE49-F238E27FC236}">
                <a16:creationId xmlns:a16="http://schemas.microsoft.com/office/drawing/2014/main" id="{940F81D8-5C7D-4F33-A461-CA45B169FF0D}"/>
              </a:ext>
            </a:extLst>
          </p:cNvPr>
          <p:cNvSpPr>
            <a:spLocks noGrp="1"/>
          </p:cNvSpPr>
          <p:nvPr>
            <p:ph type="subTitle" idx="1"/>
          </p:nvPr>
        </p:nvSpPr>
        <p:spPr/>
        <p:txBody>
          <a:bodyPr/>
          <a:lstStyle/>
          <a:p>
            <a:r>
              <a:rPr lang="pl-PL" dirty="0"/>
              <a:t>Michał Kołodziej, HPE Solution Architect</a:t>
            </a:r>
          </a:p>
          <a:p>
            <a:r>
              <a:rPr lang="pl-PL" dirty="0"/>
              <a:t>Longin Mikołajczyk, SASE Sales Specialist</a:t>
            </a:r>
          </a:p>
        </p:txBody>
      </p:sp>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a:lstStyle/>
          <a:p>
            <a:r>
              <a:rPr lang="en-GB" dirty="0" err="1"/>
              <a:t>R</a:t>
            </a:r>
            <a:r>
              <a:rPr lang="en-GB" dirty="0" err="1">
                <a:effectLst/>
              </a:rPr>
              <a:t>ealizacja</a:t>
            </a:r>
            <a:r>
              <a:rPr lang="en-GB" dirty="0">
                <a:effectLst/>
              </a:rPr>
              <a:t> </a:t>
            </a:r>
            <a:r>
              <a:rPr lang="en-GB" dirty="0" err="1">
                <a:effectLst/>
              </a:rPr>
              <a:t>wymagań</a:t>
            </a:r>
            <a:r>
              <a:rPr lang="en-GB" dirty="0">
                <a:effectLst/>
              </a:rPr>
              <a:t> </a:t>
            </a:r>
            <a:r>
              <a:rPr lang="en-GB" dirty="0" err="1">
                <a:effectLst/>
              </a:rPr>
              <a:t>technologicznych</a:t>
            </a:r>
            <a:r>
              <a:rPr lang="en-GB" dirty="0">
                <a:effectLst/>
              </a:rPr>
              <a:t> NIS2 </a:t>
            </a:r>
            <a:br>
              <a:rPr lang="pl-PL" dirty="0">
                <a:effectLst/>
              </a:rPr>
            </a:br>
            <a:r>
              <a:rPr lang="en-GB" dirty="0">
                <a:effectLst/>
              </a:rPr>
              <a:t>z </a:t>
            </a:r>
            <a:r>
              <a:rPr lang="en-GB" dirty="0" err="1">
                <a:effectLst/>
              </a:rPr>
              <a:t>udziałem</a:t>
            </a:r>
            <a:r>
              <a:rPr lang="en-GB" dirty="0">
                <a:effectLst/>
              </a:rPr>
              <a:t> </a:t>
            </a:r>
            <a:r>
              <a:rPr lang="en-GB" dirty="0" err="1">
                <a:effectLst/>
              </a:rPr>
              <a:t>rozwiązań</a:t>
            </a:r>
            <a:r>
              <a:rPr lang="en-GB" dirty="0">
                <a:effectLst/>
              </a:rPr>
              <a:t> </a:t>
            </a:r>
            <a:r>
              <a:rPr lang="en-GB" dirty="0" err="1">
                <a:effectLst/>
              </a:rPr>
              <a:t>bezpieczeństwa</a:t>
            </a:r>
            <a:r>
              <a:rPr lang="en-GB" dirty="0">
                <a:effectLst/>
              </a:rPr>
              <a:t> </a:t>
            </a:r>
            <a:br>
              <a:rPr lang="en-GB" dirty="0">
                <a:effectLst/>
              </a:rPr>
            </a:br>
            <a:r>
              <a:rPr lang="en-GB" dirty="0">
                <a:effectLst/>
              </a:rPr>
              <a:t>HPE Aruba Networking</a:t>
            </a:r>
            <a:endParaRPr lang="en-US" dirty="0"/>
          </a:p>
        </p:txBody>
      </p:sp>
    </p:spTree>
    <p:extLst>
      <p:ext uri="{BB962C8B-B14F-4D97-AF65-F5344CB8AC3E}">
        <p14:creationId xmlns:p14="http://schemas.microsoft.com/office/powerpoint/2010/main" val="223694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85743" y="391852"/>
            <a:ext cx="11498270" cy="401362"/>
          </a:xfrm>
        </p:spPr>
        <p:txBody>
          <a:bodyPr/>
          <a:lstStyle/>
          <a:p>
            <a:r>
              <a:rPr lang="en-US" dirty="0"/>
              <a:t>Stateful Fabrics z Aruba CX10000</a:t>
            </a:r>
          </a:p>
        </p:txBody>
      </p:sp>
      <p:sp>
        <p:nvSpPr>
          <p:cNvPr id="2" name="Title 2">
            <a:extLst>
              <a:ext uri="{FF2B5EF4-FFF2-40B4-BE49-F238E27FC236}">
                <a16:creationId xmlns:a16="http://schemas.microsoft.com/office/drawing/2014/main" id="{E8BDA9CF-A173-4539-BF7C-80634F54DC71}"/>
              </a:ext>
            </a:extLst>
          </p:cNvPr>
          <p:cNvSpPr txBox="1">
            <a:spLocks/>
          </p:cNvSpPr>
          <p:nvPr/>
        </p:nvSpPr>
        <p:spPr>
          <a:xfrm>
            <a:off x="609441" y="519236"/>
            <a:ext cx="10969943" cy="5335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a:buClr>
                <a:schemeClr val="lt1"/>
              </a:buClr>
              <a:buSzPts val="3400"/>
            </a:pPr>
            <a:endParaRPr lang="de-DE" sz="3000" dirty="0">
              <a:latin typeface="Open Sans ExtraBold"/>
              <a:ea typeface="Open Sans ExtraBold"/>
              <a:cs typeface="Open Sans ExtraBold"/>
              <a:sym typeface="Open Sans ExtraBold"/>
            </a:endParaRPr>
          </a:p>
        </p:txBody>
      </p:sp>
      <p:sp>
        <p:nvSpPr>
          <p:cNvPr id="3" name="Google Shape;765;p107">
            <a:extLst>
              <a:ext uri="{FF2B5EF4-FFF2-40B4-BE49-F238E27FC236}">
                <a16:creationId xmlns:a16="http://schemas.microsoft.com/office/drawing/2014/main" id="{BBA315E8-0BDF-577D-87FE-386B94AD7C44}"/>
              </a:ext>
            </a:extLst>
          </p:cNvPr>
          <p:cNvSpPr txBox="1"/>
          <p:nvPr/>
        </p:nvSpPr>
        <p:spPr>
          <a:xfrm>
            <a:off x="361215" y="2266967"/>
            <a:ext cx="3505918" cy="2646832"/>
          </a:xfrm>
          <a:prstGeom prst="rect">
            <a:avLst/>
          </a:prstGeom>
          <a:noFill/>
          <a:ln>
            <a:noFill/>
          </a:ln>
        </p:spPr>
        <p:txBody>
          <a:bodyPr spcFirstLastPara="1" wrap="square" lIns="91417" tIns="91417" rIns="91417" bIns="91417" anchor="t" anchorCtr="0">
            <a:spAutoFit/>
          </a:bodyPr>
          <a:lstStyle/>
          <a:p>
            <a:pPr marL="457200" indent="-457200">
              <a:buFont typeface="+mj-lt"/>
              <a:buAutoNum type="arabicPeriod"/>
            </a:pPr>
            <a:r>
              <a:rPr lang="en-US" sz="2000" dirty="0" err="1"/>
              <a:t>Płynna</a:t>
            </a:r>
            <a:r>
              <a:rPr lang="en-US" sz="2000" dirty="0"/>
              <a:t> </a:t>
            </a:r>
            <a:r>
              <a:rPr lang="en-US" sz="2000" dirty="0" err="1"/>
              <a:t>integracja</a:t>
            </a:r>
            <a:r>
              <a:rPr lang="en-US" sz="2000" dirty="0"/>
              <a:t>/</a:t>
            </a:r>
            <a:r>
              <a:rPr lang="en-US" sz="2000" dirty="0" err="1"/>
              <a:t>migracja</a:t>
            </a:r>
            <a:r>
              <a:rPr lang="en-US" sz="2000" dirty="0"/>
              <a:t> w </a:t>
            </a:r>
            <a:r>
              <a:rPr lang="en-US" sz="2000" dirty="0" err="1"/>
              <a:t>ramach</a:t>
            </a:r>
            <a:r>
              <a:rPr lang="en-US" sz="2000" dirty="0"/>
              <a:t> L2/L3</a:t>
            </a:r>
          </a:p>
          <a:p>
            <a:pPr marL="457200" indent="-457200">
              <a:buFont typeface="+mj-lt"/>
              <a:buAutoNum type="arabicPeriod"/>
            </a:pPr>
            <a:r>
              <a:rPr lang="en-US" sz="2000" dirty="0" err="1"/>
              <a:t>Bezpieczeństwo</a:t>
            </a:r>
            <a:r>
              <a:rPr lang="en-US" sz="2000" dirty="0"/>
              <a:t> </a:t>
            </a:r>
            <a:r>
              <a:rPr lang="en-US" sz="2000" dirty="0" err="1"/>
              <a:t>wbudowane</a:t>
            </a:r>
            <a:r>
              <a:rPr lang="en-US" sz="2000" dirty="0"/>
              <a:t> w Fabric - </a:t>
            </a:r>
            <a:r>
              <a:rPr lang="en-US" sz="2000" dirty="0" err="1"/>
              <a:t>prosta</a:t>
            </a:r>
            <a:r>
              <a:rPr lang="en-US" sz="2000" dirty="0"/>
              <a:t>, </a:t>
            </a:r>
            <a:r>
              <a:rPr lang="en-US" sz="2000" dirty="0" err="1"/>
              <a:t>tańsza</a:t>
            </a:r>
            <a:r>
              <a:rPr lang="en-US" sz="2000" dirty="0"/>
              <a:t> </a:t>
            </a:r>
            <a:r>
              <a:rPr lang="en-US" sz="2000" dirty="0" err="1"/>
              <a:t>segmentacja</a:t>
            </a:r>
            <a:r>
              <a:rPr lang="en-US" sz="2000" dirty="0"/>
              <a:t> </a:t>
            </a:r>
            <a:r>
              <a:rPr lang="en-US" sz="2000" dirty="0" err="1"/>
              <a:t>i</a:t>
            </a:r>
            <a:r>
              <a:rPr lang="en-US" sz="2000" dirty="0"/>
              <a:t> </a:t>
            </a:r>
            <a:r>
              <a:rPr lang="en-US" sz="2000" dirty="0" err="1"/>
              <a:t>szyfrowanie</a:t>
            </a:r>
            <a:endParaRPr lang="en-US" sz="2000" dirty="0"/>
          </a:p>
          <a:p>
            <a:pPr marL="457200" indent="-457200">
              <a:buFont typeface="+mj-lt"/>
              <a:buAutoNum type="arabicPeriod"/>
            </a:pPr>
            <a:r>
              <a:rPr lang="en-US" sz="2000" dirty="0" err="1"/>
              <a:t>Pełna</a:t>
            </a:r>
            <a:r>
              <a:rPr lang="en-US" sz="2000" dirty="0"/>
              <a:t> </a:t>
            </a:r>
            <a:r>
              <a:rPr lang="en-US" sz="2000" dirty="0" err="1"/>
              <a:t>widoczność</a:t>
            </a:r>
            <a:r>
              <a:rPr lang="en-US" sz="2000" dirty="0"/>
              <a:t> </a:t>
            </a:r>
            <a:r>
              <a:rPr lang="en-US" sz="2000" dirty="0" err="1"/>
              <a:t>sieci</a:t>
            </a:r>
            <a:endParaRPr lang="en-US" sz="2000" dirty="0"/>
          </a:p>
          <a:p>
            <a:pPr marL="457200" indent="-457200">
              <a:buFont typeface="+mj-lt"/>
              <a:buAutoNum type="arabicPeriod"/>
            </a:pPr>
            <a:r>
              <a:rPr lang="en-US" sz="2000" dirty="0" err="1"/>
              <a:t>Wyższy</a:t>
            </a:r>
            <a:r>
              <a:rPr lang="en-US" sz="2000" dirty="0"/>
              <a:t> </a:t>
            </a:r>
            <a:r>
              <a:rPr lang="en-US" sz="2000" dirty="0" err="1"/>
              <a:t>stopień</a:t>
            </a:r>
            <a:r>
              <a:rPr lang="en-US" sz="2000" dirty="0"/>
              <a:t> </a:t>
            </a:r>
            <a:r>
              <a:rPr lang="en-US" sz="2000" dirty="0" err="1"/>
              <a:t>automatyzacji</a:t>
            </a:r>
            <a:r>
              <a:rPr lang="en-US" sz="2000" dirty="0"/>
              <a:t> </a:t>
            </a:r>
            <a:r>
              <a:rPr lang="en-US" sz="2000" dirty="0" err="1"/>
              <a:t>sieci</a:t>
            </a:r>
            <a:endParaRPr lang="en-US" sz="2000" dirty="0"/>
          </a:p>
        </p:txBody>
      </p:sp>
      <p:pic>
        <p:nvPicPr>
          <p:cNvPr id="6" name="Google Shape;831;p3" descr="Graphical user interface, application&#10;&#10;Description automatically generated">
            <a:extLst>
              <a:ext uri="{FF2B5EF4-FFF2-40B4-BE49-F238E27FC236}">
                <a16:creationId xmlns:a16="http://schemas.microsoft.com/office/drawing/2014/main" id="{517BC3EC-569C-2933-479A-72B322A60DD3}"/>
              </a:ext>
            </a:extLst>
          </p:cNvPr>
          <p:cNvPicPr preferRelativeResize="0"/>
          <p:nvPr/>
        </p:nvPicPr>
        <p:blipFill rotWithShape="1">
          <a:blip r:embed="rId3">
            <a:alphaModFix/>
          </a:blip>
          <a:srcRect/>
          <a:stretch/>
        </p:blipFill>
        <p:spPr>
          <a:xfrm>
            <a:off x="3867133" y="1349303"/>
            <a:ext cx="7916880" cy="3876124"/>
          </a:xfrm>
          <a:prstGeom prst="rect">
            <a:avLst/>
          </a:prstGeom>
          <a:noFill/>
          <a:ln>
            <a:noFill/>
          </a:ln>
        </p:spPr>
      </p:pic>
      <p:sp>
        <p:nvSpPr>
          <p:cNvPr id="7" name="Rectangle 6">
            <a:extLst>
              <a:ext uri="{FF2B5EF4-FFF2-40B4-BE49-F238E27FC236}">
                <a16:creationId xmlns:a16="http://schemas.microsoft.com/office/drawing/2014/main" id="{53D455B2-6DDB-DC27-3D2E-5D890C976B6A}"/>
              </a:ext>
            </a:extLst>
          </p:cNvPr>
          <p:cNvSpPr/>
          <p:nvPr/>
        </p:nvSpPr>
        <p:spPr>
          <a:xfrm>
            <a:off x="8943278" y="1358971"/>
            <a:ext cx="2029521" cy="7933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608860"/>
            <a:endParaRPr lang="en-US" sz="2400" b="1">
              <a:solidFill>
                <a:schemeClr val="tx1"/>
              </a:solidFill>
            </a:endParaRPr>
          </a:p>
        </p:txBody>
      </p:sp>
      <p:grpSp>
        <p:nvGrpSpPr>
          <p:cNvPr id="8" name="Group 7">
            <a:extLst>
              <a:ext uri="{FF2B5EF4-FFF2-40B4-BE49-F238E27FC236}">
                <a16:creationId xmlns:a16="http://schemas.microsoft.com/office/drawing/2014/main" id="{CFC20383-930E-2490-3F9C-C1A14682C5A9}"/>
              </a:ext>
            </a:extLst>
          </p:cNvPr>
          <p:cNvGrpSpPr/>
          <p:nvPr/>
        </p:nvGrpSpPr>
        <p:grpSpPr>
          <a:xfrm>
            <a:off x="9022514" y="1358971"/>
            <a:ext cx="1750639" cy="692388"/>
            <a:chOff x="10372164" y="91598"/>
            <a:chExt cx="1750639" cy="692388"/>
          </a:xfrm>
        </p:grpSpPr>
        <p:pic>
          <p:nvPicPr>
            <p:cNvPr id="9" name="Picture 1" descr="signature_165116433">
              <a:extLst>
                <a:ext uri="{FF2B5EF4-FFF2-40B4-BE49-F238E27FC236}">
                  <a16:creationId xmlns:a16="http://schemas.microsoft.com/office/drawing/2014/main" id="{D04045A0-18D0-A1BC-E0BB-5B1EE4C1C0A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0372164" y="91598"/>
              <a:ext cx="1750639" cy="58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EED7A273-19CF-DC59-D870-B031C65A22B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301271" y="618097"/>
              <a:ext cx="681325" cy="165889"/>
            </a:xfrm>
            <a:prstGeom prst="rect">
              <a:avLst/>
            </a:prstGeom>
          </p:spPr>
        </p:pic>
        <p:sp>
          <p:nvSpPr>
            <p:cNvPr id="14" name="TextBox 13">
              <a:extLst>
                <a:ext uri="{FF2B5EF4-FFF2-40B4-BE49-F238E27FC236}">
                  <a16:creationId xmlns:a16="http://schemas.microsoft.com/office/drawing/2014/main" id="{AD55D7EE-F0FD-54C3-5B03-0001B038C509}"/>
                </a:ext>
              </a:extLst>
            </p:cNvPr>
            <p:cNvSpPr txBox="1"/>
            <p:nvPr/>
          </p:nvSpPr>
          <p:spPr>
            <a:xfrm>
              <a:off x="10461813" y="532654"/>
              <a:ext cx="911178" cy="224474"/>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owered by</a:t>
              </a:r>
            </a:p>
          </p:txBody>
        </p:sp>
      </p:grpSp>
      <p:sp>
        <p:nvSpPr>
          <p:cNvPr id="20" name="Google Shape;764;p107">
            <a:extLst>
              <a:ext uri="{FF2B5EF4-FFF2-40B4-BE49-F238E27FC236}">
                <a16:creationId xmlns:a16="http://schemas.microsoft.com/office/drawing/2014/main" id="{6635B8B3-9E8A-907F-4F9C-86514167EBA1}"/>
              </a:ext>
            </a:extLst>
          </p:cNvPr>
          <p:cNvSpPr txBox="1">
            <a:spLocks/>
          </p:cNvSpPr>
          <p:nvPr/>
        </p:nvSpPr>
        <p:spPr>
          <a:xfrm>
            <a:off x="109070" y="866282"/>
            <a:ext cx="11321156" cy="381000"/>
          </a:xfrm>
          <a:prstGeom prst="rect">
            <a:avLst/>
          </a:prstGeom>
          <a:noFill/>
          <a:ln>
            <a:noFill/>
          </a:ln>
        </p:spPr>
        <p:txBody>
          <a:bodyPr spcFirstLastPara="1" vert="horz" wrap="square" lIns="91417" tIns="91417" rIns="91417" bIns="91417" rtlCol="0" anchor="ctr" anchorCtr="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b="0" i="0" kern="1200">
                <a:solidFill>
                  <a:schemeClr val="tx1"/>
                </a:solidFill>
                <a:latin typeface="+mj-lt"/>
                <a:ea typeface="Open Sans Light" panose="020B0306030504020204" pitchFamily="34" charset="0"/>
                <a:cs typeface="Open Sans Light" panose="020B0306030504020204" pitchFamily="34" charset="0"/>
              </a:defRPr>
            </a:lvl1pPr>
            <a:lvl2pPr marL="411480" indent="-18288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mj-lt"/>
                <a:ea typeface="Open Sans Light" panose="020B0306030504020204" pitchFamily="34" charset="0"/>
                <a:cs typeface="Open Sans Light" panose="020B0306030504020204" pitchFamily="34" charset="0"/>
              </a:defRPr>
            </a:lvl2pPr>
            <a:lvl3pPr marL="548640" indent="-137160" algn="l" defTabSz="914400" rtl="0" eaLnBrk="1" latinLnBrk="0" hangingPunct="1">
              <a:lnSpc>
                <a:spcPct val="90000"/>
              </a:lnSpc>
              <a:spcBef>
                <a:spcPts val="600"/>
              </a:spcBef>
              <a:buFont typeface="Arial" panose="020B0604020202020204" pitchFamily="34" charset="0"/>
              <a:buChar char="–"/>
              <a:defRPr sz="1400" b="0" i="0" kern="1200">
                <a:solidFill>
                  <a:schemeClr val="tx1"/>
                </a:solidFill>
                <a:latin typeface="+mj-lt"/>
                <a:ea typeface="Open Sans Light" panose="020B0306030504020204" pitchFamily="34" charset="0"/>
                <a:cs typeface="Open Sans Light" panose="020B0306030504020204" pitchFamily="34" charset="0"/>
              </a:defRPr>
            </a:lvl3pPr>
            <a:lvl4pPr marL="73152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4pPr>
            <a:lvl5pPr marL="86868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spcBef>
                <a:spcPts val="0"/>
              </a:spcBef>
              <a:buClr>
                <a:schemeClr val="lt1"/>
              </a:buClr>
              <a:buSzPts val="2900"/>
            </a:pPr>
            <a:r>
              <a:rPr lang="en-US" dirty="0" err="1"/>
              <a:t>Przełącznik</a:t>
            </a:r>
            <a:r>
              <a:rPr lang="en-US" dirty="0"/>
              <a:t> </a:t>
            </a:r>
            <a:r>
              <a:rPr lang="en-US" dirty="0" err="1"/>
              <a:t>usług</a:t>
            </a:r>
            <a:r>
              <a:rPr lang="en-US" dirty="0"/>
              <a:t> </a:t>
            </a:r>
            <a:r>
              <a:rPr lang="en-US" dirty="0" err="1"/>
              <a:t>rozproszonych</a:t>
            </a:r>
            <a:r>
              <a:rPr lang="en-US" dirty="0"/>
              <a:t>: L2/L3/L4 </a:t>
            </a:r>
          </a:p>
        </p:txBody>
      </p:sp>
      <p:sp>
        <p:nvSpPr>
          <p:cNvPr id="4" name="Slide Number Placeholder 1">
            <a:extLst>
              <a:ext uri="{FF2B5EF4-FFF2-40B4-BE49-F238E27FC236}">
                <a16:creationId xmlns:a16="http://schemas.microsoft.com/office/drawing/2014/main" id="{52B73829-AB80-DBD9-46E4-E6E6E3411BFE}"/>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10</a:t>
            </a:fld>
            <a:endParaRPr lang="en-US" dirty="0"/>
          </a:p>
        </p:txBody>
      </p:sp>
    </p:spTree>
    <p:extLst>
      <p:ext uri="{BB962C8B-B14F-4D97-AF65-F5344CB8AC3E}">
        <p14:creationId xmlns:p14="http://schemas.microsoft.com/office/powerpoint/2010/main" val="79813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9F9DA7-DD40-C6D2-FCF7-FBCD4283DB37}"/>
              </a:ext>
            </a:extLst>
          </p:cNvPr>
          <p:cNvSpPr>
            <a:spLocks noGrp="1"/>
          </p:cNvSpPr>
          <p:nvPr>
            <p:ph type="title"/>
          </p:nvPr>
        </p:nvSpPr>
        <p:spPr/>
        <p:txBody>
          <a:bodyPr/>
          <a:lstStyle/>
          <a:p>
            <a:r>
              <a:rPr lang="en-US" dirty="0" err="1"/>
              <a:t>Rozwiązania</a:t>
            </a:r>
            <a:r>
              <a:rPr lang="en-US" dirty="0"/>
              <a:t> </a:t>
            </a:r>
            <a:r>
              <a:rPr lang="en-US" dirty="0" err="1"/>
              <a:t>dla</a:t>
            </a:r>
            <a:r>
              <a:rPr lang="en-US" dirty="0"/>
              <a:t> data center HPE Aruba Networking</a:t>
            </a:r>
            <a:endParaRPr lang="en-PL" dirty="0"/>
          </a:p>
        </p:txBody>
      </p:sp>
      <p:sp>
        <p:nvSpPr>
          <p:cNvPr id="10" name="Title 2">
            <a:extLst>
              <a:ext uri="{FF2B5EF4-FFF2-40B4-BE49-F238E27FC236}">
                <a16:creationId xmlns:a16="http://schemas.microsoft.com/office/drawing/2014/main" id="{4D7AC3C3-4407-56DF-AA84-3919009CD688}"/>
              </a:ext>
            </a:extLst>
          </p:cNvPr>
          <p:cNvSpPr txBox="1">
            <a:spLocks/>
          </p:cNvSpPr>
          <p:nvPr/>
        </p:nvSpPr>
        <p:spPr>
          <a:xfrm>
            <a:off x="609441" y="519236"/>
            <a:ext cx="10969943" cy="5335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dirty="0"/>
          </a:p>
        </p:txBody>
      </p:sp>
      <p:sp>
        <p:nvSpPr>
          <p:cNvPr id="12" name="Arrow: Right 2">
            <a:extLst>
              <a:ext uri="{FF2B5EF4-FFF2-40B4-BE49-F238E27FC236}">
                <a16:creationId xmlns:a16="http://schemas.microsoft.com/office/drawing/2014/main" id="{277F4DDE-E094-6E72-635E-7457F370C195}"/>
              </a:ext>
            </a:extLst>
          </p:cNvPr>
          <p:cNvSpPr/>
          <p:nvPr/>
        </p:nvSpPr>
        <p:spPr bwMode="ltGray">
          <a:xfrm>
            <a:off x="327852" y="2640134"/>
            <a:ext cx="11654565" cy="1057023"/>
          </a:xfrm>
          <a:prstGeom prst="rightArrow">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2400" err="1"/>
          </a:p>
        </p:txBody>
      </p:sp>
      <p:pic>
        <p:nvPicPr>
          <p:cNvPr id="13" name="Picture 12">
            <a:extLst>
              <a:ext uri="{FF2B5EF4-FFF2-40B4-BE49-F238E27FC236}">
                <a16:creationId xmlns:a16="http://schemas.microsoft.com/office/drawing/2014/main" id="{CAFE41EC-9E4C-BA25-2A40-6BE0445DC1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847" y="3506984"/>
            <a:ext cx="3079591" cy="950480"/>
          </a:xfrm>
          <a:prstGeom prst="rect">
            <a:avLst/>
          </a:prstGeom>
        </p:spPr>
      </p:pic>
      <p:sp>
        <p:nvSpPr>
          <p:cNvPr id="15" name="TextBox 14">
            <a:extLst>
              <a:ext uri="{FF2B5EF4-FFF2-40B4-BE49-F238E27FC236}">
                <a16:creationId xmlns:a16="http://schemas.microsoft.com/office/drawing/2014/main" id="{A84BAFFF-71E7-6F88-E525-19BF5EC53704}"/>
              </a:ext>
            </a:extLst>
          </p:cNvPr>
          <p:cNvSpPr txBox="1"/>
          <p:nvPr/>
        </p:nvSpPr>
        <p:spPr>
          <a:xfrm>
            <a:off x="347735" y="5119250"/>
            <a:ext cx="3362908" cy="625841"/>
          </a:xfrm>
          <a:prstGeom prst="rect">
            <a:avLst/>
          </a:prstGeom>
          <a:noFill/>
        </p:spPr>
        <p:txBody>
          <a:bodyPr wrap="square" lIns="0" tIns="0" rIns="0" bIns="0" rtlCol="0" anchor="t" anchorCtr="1">
            <a:noAutofit/>
          </a:bodyPr>
          <a:lstStyle/>
          <a:p>
            <a:pPr algn="ctr" defTabSz="914230">
              <a:spcBef>
                <a:spcPts val="500"/>
              </a:spcBef>
              <a:spcAft>
                <a:spcPts val="500"/>
              </a:spcAft>
              <a:defRPr/>
            </a:pPr>
            <a:r>
              <a:rPr lang="en-US" sz="1867" b="1" u="sng" kern="0" dirty="0" err="1">
                <a:ea typeface="Open Sans" panose="020B0606030504020204" pitchFamily="34" charset="0"/>
                <a:cs typeface="Open Sans" panose="020B0606030504020204" pitchFamily="34" charset="0"/>
              </a:rPr>
              <a:t>Uproszczenie</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dzięk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wspólnemu</a:t>
            </a:r>
            <a:r>
              <a:rPr lang="en-US" sz="1867" b="1" kern="0" dirty="0">
                <a:ea typeface="Open Sans" panose="020B0606030504020204" pitchFamily="34" charset="0"/>
                <a:cs typeface="Open Sans" panose="020B0606030504020204" pitchFamily="34" charset="0"/>
              </a:rPr>
              <a:t> OS </a:t>
            </a:r>
            <a:r>
              <a:rPr lang="en-US" sz="1867" b="1" kern="0" dirty="0" err="1">
                <a:ea typeface="Open Sans" panose="020B0606030504020204" pitchFamily="34" charset="0"/>
                <a:cs typeface="Open Sans" panose="020B0606030504020204" pitchFamily="34" charset="0"/>
              </a:rPr>
              <a:t>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modelow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operacyjnemu</a:t>
            </a:r>
            <a:endParaRPr lang="en-US" sz="1867" b="1" kern="0" dirty="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7B00BEA1-C408-C8CF-7DFF-06436520E8DE}"/>
              </a:ext>
            </a:extLst>
          </p:cNvPr>
          <p:cNvGrpSpPr/>
          <p:nvPr/>
        </p:nvGrpSpPr>
        <p:grpSpPr>
          <a:xfrm>
            <a:off x="5396791" y="2294757"/>
            <a:ext cx="1452059" cy="1113785"/>
            <a:chOff x="3842257" y="1970739"/>
            <a:chExt cx="1594010" cy="1249541"/>
          </a:xfrm>
        </p:grpSpPr>
        <p:grpSp>
          <p:nvGrpSpPr>
            <p:cNvPr id="17" name="Group 16">
              <a:extLst>
                <a:ext uri="{FF2B5EF4-FFF2-40B4-BE49-F238E27FC236}">
                  <a16:creationId xmlns:a16="http://schemas.microsoft.com/office/drawing/2014/main" id="{DB9B5316-E6ED-BF9C-9B4B-5B5DBD59094A}"/>
                </a:ext>
              </a:extLst>
            </p:cNvPr>
            <p:cNvGrpSpPr/>
            <p:nvPr/>
          </p:nvGrpSpPr>
          <p:grpSpPr>
            <a:xfrm>
              <a:off x="3842257" y="1970739"/>
              <a:ext cx="1594010" cy="1249541"/>
              <a:chOff x="7835152" y="2031159"/>
              <a:chExt cx="2480619" cy="1890104"/>
            </a:xfrm>
          </p:grpSpPr>
          <p:pic>
            <p:nvPicPr>
              <p:cNvPr id="19" name="Picture 18">
                <a:extLst>
                  <a:ext uri="{FF2B5EF4-FFF2-40B4-BE49-F238E27FC236}">
                    <a16:creationId xmlns:a16="http://schemas.microsoft.com/office/drawing/2014/main" id="{1B137DFB-5839-FAFD-D9B6-2B6EB7788BD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35152" y="2031159"/>
                <a:ext cx="2480619" cy="1890104"/>
              </a:xfrm>
              <a:prstGeom prst="rect">
                <a:avLst/>
              </a:prstGeom>
              <a:effectLst>
                <a:glow rad="63500">
                  <a:schemeClr val="bg1">
                    <a:alpha val="40000"/>
                  </a:schemeClr>
                </a:glow>
              </a:effectLst>
            </p:spPr>
          </p:pic>
          <p:pic>
            <p:nvPicPr>
              <p:cNvPr id="21" name="Picture 20">
                <a:extLst>
                  <a:ext uri="{FF2B5EF4-FFF2-40B4-BE49-F238E27FC236}">
                    <a16:creationId xmlns:a16="http://schemas.microsoft.com/office/drawing/2014/main" id="{3BBCEA25-84B9-1FD9-72C3-92A29F70A4E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29107" y="2097203"/>
                <a:ext cx="2292707" cy="1375321"/>
              </a:xfrm>
              <a:prstGeom prst="rect">
                <a:avLst/>
              </a:prstGeom>
            </p:spPr>
          </p:pic>
        </p:grpSp>
        <p:pic>
          <p:nvPicPr>
            <p:cNvPr id="18" name="Picture 17" descr="A close up of a logo&#10;&#10;Description automatically generated">
              <a:extLst>
                <a:ext uri="{FF2B5EF4-FFF2-40B4-BE49-F238E27FC236}">
                  <a16:creationId xmlns:a16="http://schemas.microsoft.com/office/drawing/2014/main" id="{5472EC28-6093-4EF2-84F2-0CA71466AB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8856" y="2283343"/>
              <a:ext cx="1285312" cy="422541"/>
            </a:xfrm>
            <a:prstGeom prst="rect">
              <a:avLst/>
            </a:prstGeom>
          </p:spPr>
        </p:pic>
      </p:grpSp>
      <p:grpSp>
        <p:nvGrpSpPr>
          <p:cNvPr id="22" name="Group 21">
            <a:extLst>
              <a:ext uri="{FF2B5EF4-FFF2-40B4-BE49-F238E27FC236}">
                <a16:creationId xmlns:a16="http://schemas.microsoft.com/office/drawing/2014/main" id="{1F6DB0E5-40CE-6557-59AE-0C701654537B}"/>
              </a:ext>
            </a:extLst>
          </p:cNvPr>
          <p:cNvGrpSpPr/>
          <p:nvPr/>
        </p:nvGrpSpPr>
        <p:grpSpPr>
          <a:xfrm>
            <a:off x="870858" y="2172020"/>
            <a:ext cx="2356436" cy="2182267"/>
            <a:chOff x="-3735658" y="-1196188"/>
            <a:chExt cx="9161880" cy="6712611"/>
          </a:xfrm>
        </p:grpSpPr>
        <p:pic>
          <p:nvPicPr>
            <p:cNvPr id="23" name="Picture 22" descr="Aruba8360_24XF2C_Prt2Pwr3F2PS_Bdl_FT.png">
              <a:extLst>
                <a:ext uri="{FF2B5EF4-FFF2-40B4-BE49-F238E27FC236}">
                  <a16:creationId xmlns:a16="http://schemas.microsoft.com/office/drawing/2014/main" id="{0B4FE3E9-58F5-FF1E-450A-7C24351241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17778" y="1020338"/>
              <a:ext cx="9144000" cy="4496085"/>
            </a:xfrm>
            <a:prstGeom prst="rect">
              <a:avLst/>
            </a:prstGeom>
          </p:spPr>
        </p:pic>
        <p:pic>
          <p:nvPicPr>
            <p:cNvPr id="24" name="Picture 23" descr="19936100.jpg">
              <a:extLst>
                <a:ext uri="{FF2B5EF4-FFF2-40B4-BE49-F238E27FC236}">
                  <a16:creationId xmlns:a16="http://schemas.microsoft.com/office/drawing/2014/main" id="{1C485513-034A-3F1A-0BC2-AEC7BA2466D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89249" y="1344191"/>
              <a:ext cx="8073483" cy="2388998"/>
            </a:xfrm>
            <a:prstGeom prst="rect">
              <a:avLst/>
            </a:prstGeom>
          </p:spPr>
        </p:pic>
        <p:pic>
          <p:nvPicPr>
            <p:cNvPr id="25" name="Picture 24" descr="19936094.jpg">
              <a:extLst>
                <a:ext uri="{FF2B5EF4-FFF2-40B4-BE49-F238E27FC236}">
                  <a16:creationId xmlns:a16="http://schemas.microsoft.com/office/drawing/2014/main" id="{B07A846F-FA4F-37EE-5676-BB3E0B8C57F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27917" y="568716"/>
              <a:ext cx="7964278" cy="2471929"/>
            </a:xfrm>
            <a:prstGeom prst="rect">
              <a:avLst/>
            </a:prstGeom>
          </p:spPr>
        </p:pic>
        <p:pic>
          <p:nvPicPr>
            <p:cNvPr id="26" name="Picture 25" descr="Aruba8360_16Y2C_Prt2Pwr3F2PS_Bdl_FT.png">
              <a:extLst>
                <a:ext uri="{FF2B5EF4-FFF2-40B4-BE49-F238E27FC236}">
                  <a16:creationId xmlns:a16="http://schemas.microsoft.com/office/drawing/2014/main" id="{E25A5D76-926E-3F63-D910-016654C5ED8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735658" y="-1196188"/>
              <a:ext cx="9144000" cy="4496085"/>
            </a:xfrm>
            <a:prstGeom prst="rect">
              <a:avLst/>
            </a:prstGeom>
          </p:spPr>
        </p:pic>
        <p:pic>
          <p:nvPicPr>
            <p:cNvPr id="27" name="Picture 26" descr="19932069.jpg">
              <a:extLst>
                <a:ext uri="{FF2B5EF4-FFF2-40B4-BE49-F238E27FC236}">
                  <a16:creationId xmlns:a16="http://schemas.microsoft.com/office/drawing/2014/main" id="{09424EB1-2B4A-4A0F-EF56-09A1E2DB84B6}"/>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735658" y="-543996"/>
              <a:ext cx="9144000" cy="3092843"/>
            </a:xfrm>
            <a:prstGeom prst="rect">
              <a:avLst/>
            </a:prstGeom>
          </p:spPr>
        </p:pic>
      </p:grpSp>
      <p:sp>
        <p:nvSpPr>
          <p:cNvPr id="28" name="TextBox 27">
            <a:extLst>
              <a:ext uri="{FF2B5EF4-FFF2-40B4-BE49-F238E27FC236}">
                <a16:creationId xmlns:a16="http://schemas.microsoft.com/office/drawing/2014/main" id="{EE0D70B8-32E2-8895-2E45-D2FA00C16B00}"/>
              </a:ext>
            </a:extLst>
          </p:cNvPr>
          <p:cNvSpPr txBox="1"/>
          <p:nvPr/>
        </p:nvSpPr>
        <p:spPr>
          <a:xfrm>
            <a:off x="4445334" y="5133476"/>
            <a:ext cx="3474477" cy="625841"/>
          </a:xfrm>
          <a:prstGeom prst="rect">
            <a:avLst/>
          </a:prstGeom>
          <a:noFill/>
        </p:spPr>
        <p:txBody>
          <a:bodyPr wrap="square" lIns="0" tIns="0" rIns="0" bIns="0" rtlCol="0" anchor="t" anchorCtr="1">
            <a:noAutofit/>
          </a:bodyPr>
          <a:lstStyle/>
          <a:p>
            <a:pPr algn="ctr" defTabSz="914230">
              <a:spcBef>
                <a:spcPts val="500"/>
              </a:spcBef>
              <a:spcAft>
                <a:spcPts val="500"/>
              </a:spcAft>
              <a:defRPr/>
            </a:pPr>
            <a:r>
              <a:rPr lang="en-US" sz="1867" b="1" u="sng" kern="0" dirty="0" err="1">
                <a:ea typeface="Open Sans" panose="020B0606030504020204" pitchFamily="34" charset="0"/>
                <a:cs typeface="Open Sans" panose="020B0606030504020204" pitchFamily="34" charset="0"/>
              </a:rPr>
              <a:t>Przyspie</a:t>
            </a:r>
            <a:r>
              <a:rPr lang="pl-PL" sz="1867" b="1" u="sng" kern="0" dirty="0">
                <a:ea typeface="Open Sans" panose="020B0606030504020204" pitchFamily="34" charset="0"/>
                <a:cs typeface="Open Sans" panose="020B0606030504020204" pitchFamily="34" charset="0"/>
              </a:rPr>
              <a:t>szenie</a:t>
            </a:r>
            <a:r>
              <a:rPr lang="en-US" sz="1867" b="1" u="sng" kern="0" dirty="0">
                <a:ea typeface="Open Sans" panose="020B0606030504020204" pitchFamily="34" charset="0"/>
                <a:cs typeface="Open Sans" panose="020B0606030504020204" pitchFamily="34" charset="0"/>
              </a:rPr>
              <a:t> provisioning</a:t>
            </a:r>
            <a:r>
              <a:rPr lang="pl-PL" sz="1867" b="1" u="sng" kern="0" dirty="0">
                <a:ea typeface="Open Sans" panose="020B0606030504020204" pitchFamily="34" charset="0"/>
                <a:cs typeface="Open Sans" panose="020B0606030504020204" pitchFamily="34" charset="0"/>
              </a:rPr>
              <a:t>u</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dzięk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siec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definiowanej</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programowo</a:t>
            </a:r>
            <a:endParaRPr lang="en-US" sz="1867" b="1" kern="0" dirty="0">
              <a:ea typeface="Open Sans" panose="020B0606030504020204" pitchFamily="34" charset="0"/>
              <a:cs typeface="Open Sans" panose="020B0606030504020204" pitchFamily="34" charset="0"/>
            </a:endParaRPr>
          </a:p>
        </p:txBody>
      </p:sp>
      <p:sp>
        <p:nvSpPr>
          <p:cNvPr id="29" name="TextBox 28">
            <a:extLst>
              <a:ext uri="{FF2B5EF4-FFF2-40B4-BE49-F238E27FC236}">
                <a16:creationId xmlns:a16="http://schemas.microsoft.com/office/drawing/2014/main" id="{26AC3349-C42C-6208-61B6-3B2D9BCF1984}"/>
              </a:ext>
            </a:extLst>
          </p:cNvPr>
          <p:cNvSpPr txBox="1"/>
          <p:nvPr/>
        </p:nvSpPr>
        <p:spPr>
          <a:xfrm>
            <a:off x="8370419" y="5073425"/>
            <a:ext cx="3252541" cy="625841"/>
          </a:xfrm>
          <a:prstGeom prst="rect">
            <a:avLst/>
          </a:prstGeom>
          <a:noFill/>
        </p:spPr>
        <p:txBody>
          <a:bodyPr wrap="square" lIns="0" tIns="0" rIns="0" bIns="0" rtlCol="0" anchor="t" anchorCtr="1">
            <a:noAutofit/>
          </a:bodyPr>
          <a:lstStyle/>
          <a:p>
            <a:pPr algn="ctr" defTabSz="914230">
              <a:spcBef>
                <a:spcPts val="500"/>
              </a:spcBef>
              <a:spcAft>
                <a:spcPts val="500"/>
              </a:spcAft>
              <a:defRPr/>
            </a:pPr>
            <a:r>
              <a:rPr lang="en-US" sz="1867" b="1" u="sng" kern="0" dirty="0" err="1">
                <a:ea typeface="Open Sans" panose="020B0606030504020204" pitchFamily="34" charset="0"/>
                <a:cs typeface="Open Sans" panose="020B0606030504020204" pitchFamily="34" charset="0"/>
              </a:rPr>
              <a:t>Zmniejszenie</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ryzyka</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i</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czasu</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potrzebnego</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na</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uruchomienie</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nowych</a:t>
            </a:r>
            <a:r>
              <a:rPr lang="en-US" sz="1867" b="1" kern="0" dirty="0">
                <a:ea typeface="Open Sans" panose="020B0606030504020204" pitchFamily="34" charset="0"/>
                <a:cs typeface="Open Sans" panose="020B0606030504020204" pitchFamily="34" charset="0"/>
              </a:rPr>
              <a:t> </a:t>
            </a:r>
            <a:r>
              <a:rPr lang="en-US" sz="1867" b="1" kern="0" dirty="0" err="1">
                <a:ea typeface="Open Sans" panose="020B0606030504020204" pitchFamily="34" charset="0"/>
                <a:cs typeface="Open Sans" panose="020B0606030504020204" pitchFamily="34" charset="0"/>
              </a:rPr>
              <a:t>usług</a:t>
            </a:r>
            <a:endParaRPr lang="en-US" sz="1867" b="1" kern="0" dirty="0">
              <a:ea typeface="Open Sans" panose="020B0606030504020204" pitchFamily="34" charset="0"/>
              <a:cs typeface="Open Sans" panose="020B0606030504020204" pitchFamily="34" charset="0"/>
            </a:endParaRPr>
          </a:p>
        </p:txBody>
      </p:sp>
      <p:grpSp>
        <p:nvGrpSpPr>
          <p:cNvPr id="30" name="Group 29">
            <a:extLst>
              <a:ext uri="{FF2B5EF4-FFF2-40B4-BE49-F238E27FC236}">
                <a16:creationId xmlns:a16="http://schemas.microsoft.com/office/drawing/2014/main" id="{66B7DA9F-A87C-7CA7-6484-770B0B44E386}"/>
              </a:ext>
            </a:extLst>
          </p:cNvPr>
          <p:cNvGrpSpPr/>
          <p:nvPr/>
        </p:nvGrpSpPr>
        <p:grpSpPr>
          <a:xfrm>
            <a:off x="9034752" y="2312329"/>
            <a:ext cx="1845841" cy="1802604"/>
            <a:chOff x="8786918" y="1618182"/>
            <a:chExt cx="1210782" cy="1359129"/>
          </a:xfrm>
        </p:grpSpPr>
        <p:pic>
          <p:nvPicPr>
            <p:cNvPr id="31" name="Picture 30">
              <a:extLst>
                <a:ext uri="{FF2B5EF4-FFF2-40B4-BE49-F238E27FC236}">
                  <a16:creationId xmlns:a16="http://schemas.microsoft.com/office/drawing/2014/main" id="{9BC92C4C-8F57-9A6B-4B62-0AB61488784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786918" y="1618182"/>
              <a:ext cx="412420" cy="1356818"/>
            </a:xfrm>
            <a:prstGeom prst="rect">
              <a:avLst/>
            </a:prstGeom>
          </p:spPr>
        </p:pic>
        <p:pic>
          <p:nvPicPr>
            <p:cNvPr id="32" name="Picture 31">
              <a:extLst>
                <a:ext uri="{FF2B5EF4-FFF2-40B4-BE49-F238E27FC236}">
                  <a16:creationId xmlns:a16="http://schemas.microsoft.com/office/drawing/2014/main" id="{EED8138D-7BA8-DB0B-8E19-29782CBF0AE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186099" y="1620493"/>
              <a:ext cx="412420" cy="1356818"/>
            </a:xfrm>
            <a:prstGeom prst="rect">
              <a:avLst/>
            </a:prstGeom>
          </p:spPr>
        </p:pic>
        <p:pic>
          <p:nvPicPr>
            <p:cNvPr id="33" name="Picture 32">
              <a:extLst>
                <a:ext uri="{FF2B5EF4-FFF2-40B4-BE49-F238E27FC236}">
                  <a16:creationId xmlns:a16="http://schemas.microsoft.com/office/drawing/2014/main" id="{7EFAB696-EB49-3C0B-F5D6-84B2DA51B46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85280" y="1619629"/>
              <a:ext cx="412420" cy="1356818"/>
            </a:xfrm>
            <a:prstGeom prst="rect">
              <a:avLst/>
            </a:prstGeom>
          </p:spPr>
        </p:pic>
      </p:grpSp>
      <p:sp>
        <p:nvSpPr>
          <p:cNvPr id="34" name="TextBox 33">
            <a:extLst>
              <a:ext uri="{FF2B5EF4-FFF2-40B4-BE49-F238E27FC236}">
                <a16:creationId xmlns:a16="http://schemas.microsoft.com/office/drawing/2014/main" id="{E60FD10C-0741-A5A9-D517-55B7CD8F2DBF}"/>
              </a:ext>
            </a:extLst>
          </p:cNvPr>
          <p:cNvSpPr txBox="1"/>
          <p:nvPr/>
        </p:nvSpPr>
        <p:spPr>
          <a:xfrm>
            <a:off x="4506808" y="1693342"/>
            <a:ext cx="3302193" cy="351445"/>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751" tIns="31751" rIns="31751" bIns="31751" numCol="1" spcCol="38100" rtlCol="0" anchor="ctr">
            <a:spAutoFit/>
          </a:bodyPr>
          <a:lstStyle/>
          <a:p>
            <a:pPr algn="ctr" defTabSz="687845" hangingPunct="0">
              <a:defRPr/>
            </a:pPr>
            <a:r>
              <a:rPr lang="en-US" sz="1867" b="1" dirty="0">
                <a:ea typeface="Open Sans" panose="020B0606030504020204" pitchFamily="34" charset="0"/>
                <a:cs typeface="Open Sans" panose="020B0606030504020204" pitchFamily="34" charset="0"/>
                <a:sym typeface="Helvetica Neue"/>
              </a:rPr>
              <a:t>Aruba Fabric Composer</a:t>
            </a:r>
          </a:p>
        </p:txBody>
      </p:sp>
      <p:sp>
        <p:nvSpPr>
          <p:cNvPr id="35" name="TextBox 34">
            <a:extLst>
              <a:ext uri="{FF2B5EF4-FFF2-40B4-BE49-F238E27FC236}">
                <a16:creationId xmlns:a16="http://schemas.microsoft.com/office/drawing/2014/main" id="{ABE01013-0870-FDD9-D1B1-9C0CCCA78ECB}"/>
              </a:ext>
            </a:extLst>
          </p:cNvPr>
          <p:cNvSpPr txBox="1"/>
          <p:nvPr/>
        </p:nvSpPr>
        <p:spPr>
          <a:xfrm>
            <a:off x="475182" y="1575743"/>
            <a:ext cx="3302193" cy="638767"/>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751" tIns="31751" rIns="31751" bIns="31751" numCol="1" spcCol="38100" rtlCol="0" anchor="ctr">
            <a:spAutoFit/>
          </a:bodyPr>
          <a:lstStyle/>
          <a:p>
            <a:pPr algn="ctr" defTabSz="687845" hangingPunct="0">
              <a:defRPr/>
            </a:pPr>
            <a:r>
              <a:rPr lang="en-US" sz="1867" b="1" dirty="0">
                <a:ea typeface="Open Sans" panose="020B0606030504020204" pitchFamily="34" charset="0"/>
                <a:cs typeface="Open Sans" panose="020B0606030504020204" pitchFamily="34" charset="0"/>
                <a:sym typeface="Helvetica Neue"/>
              </a:rPr>
              <a:t>Aruba CX 9300/</a:t>
            </a:r>
            <a:r>
              <a:rPr lang="en-US" sz="1867" b="1" dirty="0">
                <a:solidFill>
                  <a:srgbClr val="FF8300"/>
                </a:solidFill>
                <a:ea typeface="Open Sans" panose="020B0606030504020204" pitchFamily="34" charset="0"/>
                <a:cs typeface="Open Sans" panose="020B0606030504020204" pitchFamily="34" charset="0"/>
                <a:sym typeface="Helvetica Neue"/>
              </a:rPr>
              <a:t>10000</a:t>
            </a:r>
            <a:r>
              <a:rPr lang="en-US" sz="1867" b="1" dirty="0">
                <a:ea typeface="Open Sans" panose="020B0606030504020204" pitchFamily="34" charset="0"/>
                <a:cs typeface="Open Sans" panose="020B0606030504020204" pitchFamily="34" charset="0"/>
                <a:sym typeface="Helvetica Neue"/>
              </a:rPr>
              <a:t>/83xx/8100</a:t>
            </a:r>
          </a:p>
        </p:txBody>
      </p:sp>
      <p:sp>
        <p:nvSpPr>
          <p:cNvPr id="36" name="TextBox 35">
            <a:extLst>
              <a:ext uri="{FF2B5EF4-FFF2-40B4-BE49-F238E27FC236}">
                <a16:creationId xmlns:a16="http://schemas.microsoft.com/office/drawing/2014/main" id="{493FD159-2FD5-3812-893A-459415AF6A1A}"/>
              </a:ext>
            </a:extLst>
          </p:cNvPr>
          <p:cNvSpPr txBox="1"/>
          <p:nvPr/>
        </p:nvSpPr>
        <p:spPr>
          <a:xfrm>
            <a:off x="8345594" y="1683095"/>
            <a:ext cx="3302193" cy="351445"/>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751" tIns="31751" rIns="31751" bIns="31751" numCol="1" spcCol="38100" rtlCol="0" anchor="ctr">
            <a:spAutoFit/>
          </a:bodyPr>
          <a:lstStyle/>
          <a:p>
            <a:pPr algn="ctr" defTabSz="687845" hangingPunct="0">
              <a:defRPr/>
            </a:pPr>
            <a:r>
              <a:rPr lang="en-US" sz="1867" b="1" dirty="0" err="1">
                <a:ea typeface="Open Sans" panose="020B0606030504020204" pitchFamily="34" charset="0"/>
                <a:cs typeface="Open Sans" panose="020B0606030504020204" pitchFamily="34" charset="0"/>
                <a:sym typeface="Helvetica Neue"/>
              </a:rPr>
              <a:t>Integracja</a:t>
            </a:r>
            <a:r>
              <a:rPr lang="en-US" sz="1867" b="1" dirty="0">
                <a:ea typeface="Open Sans" panose="020B0606030504020204" pitchFamily="34" charset="0"/>
                <a:cs typeface="Open Sans" panose="020B0606030504020204" pitchFamily="34" charset="0"/>
                <a:sym typeface="Helvetica Neue"/>
              </a:rPr>
              <a:t> </a:t>
            </a:r>
            <a:r>
              <a:rPr lang="en-US" sz="1867" b="1" dirty="0" err="1">
                <a:ea typeface="Open Sans" panose="020B0606030504020204" pitchFamily="34" charset="0"/>
                <a:cs typeface="Open Sans" panose="020B0606030504020204" pitchFamily="34" charset="0"/>
                <a:sym typeface="Helvetica Neue"/>
              </a:rPr>
              <a:t>rozwiązań</a:t>
            </a:r>
            <a:endParaRPr lang="en-US" sz="1867" b="1" dirty="0">
              <a:ea typeface="Open Sans" panose="020B0606030504020204" pitchFamily="34" charset="0"/>
              <a:cs typeface="Open Sans" panose="020B0606030504020204" pitchFamily="34" charset="0"/>
              <a:sym typeface="Helvetica Neue"/>
            </a:endParaRPr>
          </a:p>
        </p:txBody>
      </p:sp>
      <p:sp>
        <p:nvSpPr>
          <p:cNvPr id="37" name="TextBox 36">
            <a:extLst>
              <a:ext uri="{FF2B5EF4-FFF2-40B4-BE49-F238E27FC236}">
                <a16:creationId xmlns:a16="http://schemas.microsoft.com/office/drawing/2014/main" id="{A4ED8DD8-E44C-3332-72DE-8CA6598EF501}"/>
              </a:ext>
            </a:extLst>
          </p:cNvPr>
          <p:cNvSpPr txBox="1"/>
          <p:nvPr/>
        </p:nvSpPr>
        <p:spPr>
          <a:xfrm>
            <a:off x="475182" y="4229022"/>
            <a:ext cx="3196612" cy="741423"/>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751" tIns="31751" rIns="31751" bIns="31751" numCol="1" spcCol="38100" rtlCol="0" anchor="ctr">
            <a:spAutoFit/>
          </a:bodyPr>
          <a:lstStyle/>
          <a:p>
            <a:pPr algn="ctr" defTabSz="687845" hangingPunct="0">
              <a:defRPr/>
            </a:pPr>
            <a:r>
              <a:rPr lang="en-US" sz="1467" i="1" dirty="0">
                <a:ea typeface="Open Sans" panose="020B0606030504020204" pitchFamily="34" charset="0"/>
                <a:cs typeface="Open Sans" panose="020B0606030504020204" pitchFamily="34" charset="0"/>
                <a:sym typeface="Helvetica Neue"/>
              </a:rPr>
              <a:t>10/25/40/50/100/400 GbE </a:t>
            </a:r>
            <a:r>
              <a:rPr lang="en-US" sz="1467" i="1" dirty="0" err="1">
                <a:ea typeface="Open Sans" panose="020B0606030504020204" pitchFamily="34" charset="0"/>
                <a:cs typeface="Open Sans" panose="020B0606030504020204" pitchFamily="34" charset="0"/>
                <a:sym typeface="Helvetica Neue"/>
              </a:rPr>
              <a:t>dla</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warstwy</a:t>
            </a:r>
            <a:r>
              <a:rPr lang="en-US" sz="1467" i="1" dirty="0">
                <a:ea typeface="Open Sans" panose="020B0606030504020204" pitchFamily="34" charset="0"/>
                <a:cs typeface="Open Sans" panose="020B0606030504020204" pitchFamily="34" charset="0"/>
                <a:sym typeface="Helvetica Neue"/>
              </a:rPr>
              <a:t> core </a:t>
            </a:r>
            <a:r>
              <a:rPr lang="en-US" sz="1467" i="1" dirty="0" err="1">
                <a:ea typeface="Open Sans" panose="020B0606030504020204" pitchFamily="34" charset="0"/>
                <a:cs typeface="Open Sans" panose="020B0606030504020204" pitchFamily="34" charset="0"/>
                <a:sym typeface="Helvetica Neue"/>
              </a:rPr>
              <a:t>sieci</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kampusowych</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i</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centrów</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przetwarzania</a:t>
            </a:r>
            <a:r>
              <a:rPr lang="en-US" sz="1467" i="1" dirty="0">
                <a:ea typeface="Open Sans" panose="020B0606030504020204" pitchFamily="34" charset="0"/>
                <a:cs typeface="Open Sans" panose="020B0606030504020204" pitchFamily="34" charset="0"/>
                <a:sym typeface="Helvetica Neue"/>
              </a:rPr>
              <a:t> </a:t>
            </a:r>
            <a:r>
              <a:rPr lang="en-US" sz="1467" i="1" dirty="0" err="1">
                <a:ea typeface="Open Sans" panose="020B0606030504020204" pitchFamily="34" charset="0"/>
                <a:cs typeface="Open Sans" panose="020B0606030504020204" pitchFamily="34" charset="0"/>
                <a:sym typeface="Helvetica Neue"/>
              </a:rPr>
              <a:t>danych</a:t>
            </a:r>
            <a:endParaRPr lang="en-US" sz="1467" i="1" dirty="0">
              <a:ea typeface="Open Sans" panose="020B0606030504020204" pitchFamily="34" charset="0"/>
              <a:cs typeface="Open Sans" panose="020B0606030504020204" pitchFamily="34" charset="0"/>
              <a:sym typeface="Helvetica Neue"/>
            </a:endParaRPr>
          </a:p>
        </p:txBody>
      </p:sp>
      <p:sp>
        <p:nvSpPr>
          <p:cNvPr id="38" name="TextBox 37">
            <a:extLst>
              <a:ext uri="{FF2B5EF4-FFF2-40B4-BE49-F238E27FC236}">
                <a16:creationId xmlns:a16="http://schemas.microsoft.com/office/drawing/2014/main" id="{4EC94362-2E4F-4B1A-E436-D8629AA47490}"/>
              </a:ext>
            </a:extLst>
          </p:cNvPr>
          <p:cNvSpPr txBox="1"/>
          <p:nvPr/>
        </p:nvSpPr>
        <p:spPr>
          <a:xfrm>
            <a:off x="4260156" y="4357910"/>
            <a:ext cx="3803877" cy="515656"/>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751" tIns="31751" rIns="31751" bIns="31751" numCol="1" spcCol="38100" rtlCol="0" anchor="ctr">
            <a:spAutoFit/>
          </a:bodyPr>
          <a:lstStyle/>
          <a:p>
            <a:pPr algn="ctr" defTabSz="687845" hangingPunct="0">
              <a:defRPr/>
            </a:pPr>
            <a:r>
              <a:rPr lang="en-US" sz="1467" dirty="0" err="1">
                <a:ea typeface="Open Sans" panose="020B0606030504020204" pitchFamily="34" charset="0"/>
                <a:cs typeface="Open Sans" panose="020B0606030504020204" pitchFamily="34" charset="0"/>
                <a:sym typeface="Helvetica Neue"/>
              </a:rPr>
              <a:t>Świadomość</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aplikacji</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automatyzacja</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przepływu</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pracy</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integracja</a:t>
            </a:r>
            <a:r>
              <a:rPr lang="en-US" sz="1467" dirty="0">
                <a:ea typeface="Open Sans" panose="020B0606030504020204" pitchFamily="34" charset="0"/>
                <a:cs typeface="Open Sans" panose="020B0606030504020204" pitchFamily="34" charset="0"/>
                <a:sym typeface="Helvetica Neue"/>
              </a:rPr>
              <a:t> </a:t>
            </a:r>
            <a:r>
              <a:rPr lang="en-US" sz="1467" dirty="0" err="1">
                <a:ea typeface="Open Sans" panose="020B0606030504020204" pitchFamily="34" charset="0"/>
                <a:cs typeface="Open Sans" panose="020B0606030504020204" pitchFamily="34" charset="0"/>
                <a:sym typeface="Helvetica Neue"/>
              </a:rPr>
              <a:t>ekosystemu</a:t>
            </a:r>
            <a:endParaRPr lang="en-US" sz="1467" dirty="0">
              <a:ea typeface="Open Sans" panose="020B0606030504020204" pitchFamily="34" charset="0"/>
              <a:cs typeface="Open Sans" panose="020B0606030504020204" pitchFamily="34" charset="0"/>
              <a:sym typeface="Helvetica Neue"/>
            </a:endParaRPr>
          </a:p>
        </p:txBody>
      </p:sp>
      <p:sp>
        <p:nvSpPr>
          <p:cNvPr id="39" name="TextBox 38">
            <a:extLst>
              <a:ext uri="{FF2B5EF4-FFF2-40B4-BE49-F238E27FC236}">
                <a16:creationId xmlns:a16="http://schemas.microsoft.com/office/drawing/2014/main" id="{D87F65B5-D6BB-5EF7-CB13-3CFC187A1A94}"/>
              </a:ext>
            </a:extLst>
          </p:cNvPr>
          <p:cNvSpPr txBox="1"/>
          <p:nvPr/>
        </p:nvSpPr>
        <p:spPr>
          <a:xfrm>
            <a:off x="8638491" y="4317565"/>
            <a:ext cx="2951139" cy="625841"/>
          </a:xfrm>
          <a:prstGeom prst="rect">
            <a:avLst/>
          </a:prstGeom>
          <a:noFill/>
          <a:ln w="19050">
            <a:noFill/>
          </a:ln>
        </p:spPr>
        <p:txBody>
          <a:bodyPr wrap="square" lIns="0" tIns="0" rIns="0" bIns="0" rtlCol="0" anchor="t">
            <a:noAutofit/>
          </a:bodyPr>
          <a:lstStyle/>
          <a:p>
            <a:pPr marL="228594" indent="-228594" fontAlgn="base">
              <a:buFont typeface="Arial" panose="020B0604020202020204" pitchFamily="34" charset="0"/>
              <a:buChar char="•"/>
            </a:pPr>
            <a:r>
              <a:rPr lang="en-GB" sz="1400" dirty="0">
                <a:ea typeface="Open Sans Light" panose="020B0306030504020204" pitchFamily="34" charset="0"/>
                <a:cs typeface="Open Sans Light" panose="020B0306030504020204" pitchFamily="34" charset="0"/>
              </a:rPr>
              <a:t>HPE </a:t>
            </a:r>
            <a:r>
              <a:rPr lang="en-GB" sz="1400" dirty="0" err="1">
                <a:ea typeface="Open Sans Light" panose="020B0306030504020204" pitchFamily="34" charset="0"/>
                <a:cs typeface="Open Sans Light" panose="020B0306030504020204" pitchFamily="34" charset="0"/>
              </a:rPr>
              <a:t>GreenLake</a:t>
            </a:r>
            <a:r>
              <a:rPr lang="en-GB" sz="1400" dirty="0">
                <a:ea typeface="Open Sans Light" panose="020B0306030504020204" pitchFamily="34" charset="0"/>
                <a:cs typeface="Open Sans Light" panose="020B0306030504020204" pitchFamily="34" charset="0"/>
              </a:rPr>
              <a:t> Hybrid Cloud</a:t>
            </a:r>
            <a:endParaRPr lang="en-GB" sz="1400" dirty="0">
              <a:cs typeface="Arial"/>
            </a:endParaRPr>
          </a:p>
          <a:p>
            <a:pPr marL="228594" indent="-228594" fontAlgn="base">
              <a:buFont typeface="Arial" panose="020B0604020202020204" pitchFamily="34" charset="0"/>
              <a:buChar char="•"/>
            </a:pPr>
            <a:r>
              <a:rPr lang="en-GB" sz="1400" dirty="0">
                <a:ea typeface="Open Sans Light" panose="020B0306030504020204" pitchFamily="34" charset="0"/>
                <a:cs typeface="Arial"/>
              </a:rPr>
              <a:t>SimpliVity, </a:t>
            </a:r>
            <a:r>
              <a:rPr lang="en-GB" sz="1400" dirty="0" err="1">
                <a:ea typeface="Open Sans Light" panose="020B0306030504020204" pitchFamily="34" charset="0"/>
                <a:cs typeface="Open Sans Light" panose="020B0306030504020204" pitchFamily="34" charset="0"/>
              </a:rPr>
              <a:t>Alletra</a:t>
            </a:r>
            <a:r>
              <a:rPr lang="en-GB" sz="1400" dirty="0">
                <a:ea typeface="Open Sans Light" panose="020B0306030504020204" pitchFamily="34" charset="0"/>
                <a:cs typeface="Open Sans Light" panose="020B0306030504020204" pitchFamily="34" charset="0"/>
              </a:rPr>
              <a:t>, </a:t>
            </a:r>
            <a:r>
              <a:rPr lang="en-US" sz="1400" dirty="0">
                <a:ea typeface="Open Sans Light" panose="020B0306030504020204" pitchFamily="34" charset="0"/>
                <a:cs typeface="Open Sans Light" panose="020B0306030504020204" pitchFamily="34" charset="0"/>
                <a:sym typeface="Helvetica Neue"/>
              </a:rPr>
              <a:t>Azure Stack</a:t>
            </a:r>
            <a:endParaRPr lang="en-US" sz="1400" dirty="0">
              <a:ea typeface="Open Sans Light" panose="020B0306030504020204" pitchFamily="34" charset="0"/>
              <a:cs typeface="Open Sans Light" panose="020B0306030504020204" pitchFamily="34" charset="0"/>
            </a:endParaRPr>
          </a:p>
          <a:p>
            <a:pPr marL="228594" indent="-228594" fontAlgn="base">
              <a:buFont typeface="Arial" panose="020B0604020202020204" pitchFamily="34" charset="0"/>
              <a:buChar char="•"/>
              <a:defRPr/>
            </a:pPr>
            <a:r>
              <a:rPr lang="en-US" sz="1400" dirty="0">
                <a:ea typeface="Open Sans Light" panose="020B0306030504020204" pitchFamily="34" charset="0"/>
                <a:cs typeface="Arial"/>
                <a:sym typeface="Helvetica Neue"/>
              </a:rPr>
              <a:t>Apollo, HPC, Cray, </a:t>
            </a:r>
            <a:r>
              <a:rPr lang="en-US" sz="1400" dirty="0">
                <a:ea typeface="Open Sans Light" panose="020B0306030504020204" pitchFamily="34" charset="0"/>
                <a:cs typeface="Arial"/>
              </a:rPr>
              <a:t>SAP HANA</a:t>
            </a:r>
          </a:p>
        </p:txBody>
      </p:sp>
      <p:grpSp>
        <p:nvGrpSpPr>
          <p:cNvPr id="40" name="Group 39">
            <a:extLst>
              <a:ext uri="{FF2B5EF4-FFF2-40B4-BE49-F238E27FC236}">
                <a16:creationId xmlns:a16="http://schemas.microsoft.com/office/drawing/2014/main" id="{4CF59FEF-4DDE-EA9E-5746-D6C452EF55BC}"/>
              </a:ext>
            </a:extLst>
          </p:cNvPr>
          <p:cNvGrpSpPr/>
          <p:nvPr/>
        </p:nvGrpSpPr>
        <p:grpSpPr>
          <a:xfrm>
            <a:off x="4471182" y="3266565"/>
            <a:ext cx="3384212" cy="926843"/>
            <a:chOff x="3043748" y="4501834"/>
            <a:chExt cx="6166907" cy="1455061"/>
          </a:xfrm>
        </p:grpSpPr>
        <p:cxnSp>
          <p:nvCxnSpPr>
            <p:cNvPr id="41" name="Straight Connector 40">
              <a:extLst>
                <a:ext uri="{FF2B5EF4-FFF2-40B4-BE49-F238E27FC236}">
                  <a16:creationId xmlns:a16="http://schemas.microsoft.com/office/drawing/2014/main" id="{610C18FF-AA6E-0833-5A8F-04067C194DDC}"/>
                </a:ext>
              </a:extLst>
            </p:cNvPr>
            <p:cNvCxnSpPr>
              <a:cxnSpLocks/>
            </p:cNvCxnSpPr>
            <p:nvPr/>
          </p:nvCxnSpPr>
          <p:spPr>
            <a:xfrm flipH="1">
              <a:off x="3970003" y="4866631"/>
              <a:ext cx="1000085" cy="765726"/>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6C9B543-D805-2C41-22C3-C722BF2C0B7E}"/>
                </a:ext>
              </a:extLst>
            </p:cNvPr>
            <p:cNvCxnSpPr>
              <a:cxnSpLocks/>
            </p:cNvCxnSpPr>
            <p:nvPr/>
          </p:nvCxnSpPr>
          <p:spPr>
            <a:xfrm flipH="1">
              <a:off x="3970003" y="4853877"/>
              <a:ext cx="3228466" cy="77848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68549F3-C7F9-84AB-CEA4-B7B73DED90E8}"/>
                </a:ext>
              </a:extLst>
            </p:cNvPr>
            <p:cNvCxnSpPr>
              <a:cxnSpLocks/>
            </p:cNvCxnSpPr>
            <p:nvPr/>
          </p:nvCxnSpPr>
          <p:spPr>
            <a:xfrm>
              <a:off x="4970088" y="4866631"/>
              <a:ext cx="3145445" cy="765671"/>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8F2436D-9686-0220-5D52-0453430FB700}"/>
                </a:ext>
              </a:extLst>
            </p:cNvPr>
            <p:cNvCxnSpPr>
              <a:cxnSpLocks/>
            </p:cNvCxnSpPr>
            <p:nvPr/>
          </p:nvCxnSpPr>
          <p:spPr>
            <a:xfrm flipH="1">
              <a:off x="6042768" y="4853877"/>
              <a:ext cx="1167718" cy="7850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82B5784-7380-EDED-4EFF-625B734EED67}"/>
                </a:ext>
              </a:extLst>
            </p:cNvPr>
            <p:cNvCxnSpPr>
              <a:cxnSpLocks/>
            </p:cNvCxnSpPr>
            <p:nvPr/>
          </p:nvCxnSpPr>
          <p:spPr>
            <a:xfrm>
              <a:off x="4970088" y="4866631"/>
              <a:ext cx="1072680" cy="772299"/>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E92669B-8FB2-A341-041B-A23915E7ABD1}"/>
                </a:ext>
              </a:extLst>
            </p:cNvPr>
            <p:cNvCxnSpPr>
              <a:cxnSpLocks/>
            </p:cNvCxnSpPr>
            <p:nvPr/>
          </p:nvCxnSpPr>
          <p:spPr>
            <a:xfrm>
              <a:off x="7198469" y="4853877"/>
              <a:ext cx="917064" cy="77842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47" name="Picture 46" descr="A close up of a device&#10;&#10;Description automatically generated">
              <a:extLst>
                <a:ext uri="{FF2B5EF4-FFF2-40B4-BE49-F238E27FC236}">
                  <a16:creationId xmlns:a16="http://schemas.microsoft.com/office/drawing/2014/main" id="{010D3CAB-2778-EB0A-EFCD-E7232A2F0C2E}"/>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0" b="100000" l="164" r="99726">
                          <a14:foregroundMark x1="12035" y1="66424" x2="16931" y2="73576"/>
                          <a14:foregroundMark x1="16931" y1="73576" x2="12226" y2="68364"/>
                          <a14:foregroundMark x1="12226" y1="68364" x2="17095" y2="72000"/>
                          <a14:foregroundMark x1="17095" y1="72000" x2="12473" y2="66424"/>
                          <a14:foregroundMark x1="12473" y1="66424" x2="17013" y2="60848"/>
                          <a14:foregroundMark x1="17013" y1="60848" x2="19365" y2="79030"/>
                          <a14:foregroundMark x1="19365" y1="79030" x2="14387" y2="81697"/>
                          <a14:foregroundMark x1="14387" y1="81697" x2="16466" y2="62182"/>
                          <a14:foregroundMark x1="16466" y1="62182" x2="17998" y2="67879"/>
                          <a14:foregroundMark x1="1887" y1="47152" x2="1094" y2="89818"/>
                          <a14:foregroundMark x1="1094" y1="89818" x2="164" y2="68606"/>
                          <a14:foregroundMark x1="164" y1="68606" x2="1997" y2="76970"/>
                          <a14:foregroundMark x1="99289" y1="51152" x2="99015" y2="92727"/>
                          <a14:foregroundMark x1="99015" y1="92727" x2="97183" y2="73212"/>
                          <a14:foregroundMark x1="97183" y1="73212" x2="98879" y2="53697"/>
                          <a14:foregroundMark x1="98879" y1="53697" x2="99754" y2="69939"/>
                        </a14:backgroundRemoval>
                      </a14:imgEffect>
                    </a14:imgLayer>
                  </a14:imgProps>
                </a:ext>
                <a:ext uri="{28A0092B-C50C-407E-A947-70E740481C1C}">
                  <a14:useLocalDpi xmlns:a14="http://schemas.microsoft.com/office/drawing/2010/main"/>
                </a:ext>
              </a:extLst>
            </a:blip>
            <a:srcRect/>
            <a:stretch/>
          </p:blipFill>
          <p:spPr>
            <a:xfrm>
              <a:off x="3957986" y="4501834"/>
              <a:ext cx="2000170" cy="451166"/>
            </a:xfrm>
            <a:prstGeom prst="rect">
              <a:avLst/>
            </a:prstGeom>
          </p:spPr>
        </p:pic>
        <p:pic>
          <p:nvPicPr>
            <p:cNvPr id="48" name="Picture 47" descr="A close up of a device&#10;&#10;Description automatically generated">
              <a:extLst>
                <a:ext uri="{FF2B5EF4-FFF2-40B4-BE49-F238E27FC236}">
                  <a16:creationId xmlns:a16="http://schemas.microsoft.com/office/drawing/2014/main" id="{7B58B7FA-BEBA-65F1-F940-D6EDEC64A1D3}"/>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0" b="100000" l="164" r="99726">
                          <a14:foregroundMark x1="12035" y1="66424" x2="16931" y2="73576"/>
                          <a14:foregroundMark x1="16931" y1="73576" x2="12226" y2="68364"/>
                          <a14:foregroundMark x1="12226" y1="68364" x2="17095" y2="72000"/>
                          <a14:foregroundMark x1="17095" y1="72000" x2="12473" y2="66424"/>
                          <a14:foregroundMark x1="12473" y1="66424" x2="17013" y2="60848"/>
                          <a14:foregroundMark x1="17013" y1="60848" x2="19365" y2="79030"/>
                          <a14:foregroundMark x1="19365" y1="79030" x2="14387" y2="81697"/>
                          <a14:foregroundMark x1="14387" y1="81697" x2="16466" y2="62182"/>
                          <a14:foregroundMark x1="16466" y1="62182" x2="17998" y2="67879"/>
                          <a14:foregroundMark x1="1887" y1="47152" x2="1094" y2="89818"/>
                          <a14:foregroundMark x1="1094" y1="89818" x2="164" y2="68606"/>
                          <a14:foregroundMark x1="164" y1="68606" x2="1997" y2="76970"/>
                          <a14:foregroundMark x1="99289" y1="51152" x2="99015" y2="92727"/>
                          <a14:foregroundMark x1="99015" y1="92727" x2="97183" y2="73212"/>
                          <a14:foregroundMark x1="97183" y1="73212" x2="98879" y2="53697"/>
                          <a14:foregroundMark x1="98879" y1="53697" x2="99754" y2="69939"/>
                        </a14:backgroundRemoval>
                      </a14:imgEffect>
                    </a14:imgLayer>
                  </a14:imgProps>
                </a:ext>
                <a:ext uri="{28A0092B-C50C-407E-A947-70E740481C1C}">
                  <a14:useLocalDpi xmlns:a14="http://schemas.microsoft.com/office/drawing/2010/main"/>
                </a:ext>
              </a:extLst>
            </a:blip>
            <a:srcRect/>
            <a:stretch/>
          </p:blipFill>
          <p:spPr>
            <a:xfrm>
              <a:off x="6162882" y="4501834"/>
              <a:ext cx="2000170" cy="451166"/>
            </a:xfrm>
            <a:prstGeom prst="rect">
              <a:avLst/>
            </a:prstGeom>
          </p:spPr>
        </p:pic>
        <p:pic>
          <p:nvPicPr>
            <p:cNvPr id="49" name="Picture 48" descr="A close up of a device&#10;&#10;Description automatically generated">
              <a:extLst>
                <a:ext uri="{FF2B5EF4-FFF2-40B4-BE49-F238E27FC236}">
                  <a16:creationId xmlns:a16="http://schemas.microsoft.com/office/drawing/2014/main" id="{D1191C28-0F74-D025-D93A-0FA198B0FE50}"/>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0" b="100000" l="164" r="99726">
                          <a14:foregroundMark x1="12035" y1="66424" x2="16931" y2="73576"/>
                          <a14:foregroundMark x1="16931" y1="73576" x2="12226" y2="68364"/>
                          <a14:foregroundMark x1="12226" y1="68364" x2="17095" y2="72000"/>
                          <a14:foregroundMark x1="17095" y1="72000" x2="12473" y2="66424"/>
                          <a14:foregroundMark x1="12473" y1="66424" x2="17013" y2="60848"/>
                          <a14:foregroundMark x1="17013" y1="60848" x2="19365" y2="79030"/>
                          <a14:foregroundMark x1="19365" y1="79030" x2="14387" y2="81697"/>
                          <a14:foregroundMark x1="14387" y1="81697" x2="16466" y2="62182"/>
                          <a14:foregroundMark x1="16466" y1="62182" x2="17998" y2="67879"/>
                          <a14:foregroundMark x1="1887" y1="47152" x2="1094" y2="89818"/>
                          <a14:foregroundMark x1="1094" y1="89818" x2="164" y2="68606"/>
                          <a14:foregroundMark x1="164" y1="68606" x2="1997" y2="76970"/>
                          <a14:foregroundMark x1="99289" y1="51152" x2="99015" y2="92727"/>
                          <a14:foregroundMark x1="99015" y1="92727" x2="97183" y2="73212"/>
                          <a14:foregroundMark x1="97183" y1="73212" x2="98879" y2="53697"/>
                          <a14:foregroundMark x1="98879" y1="53697" x2="99754" y2="69939"/>
                        </a14:backgroundRemoval>
                      </a14:imgEffect>
                    </a14:imgLayer>
                  </a14:imgProps>
                </a:ext>
                <a:ext uri="{28A0092B-C50C-407E-A947-70E740481C1C}">
                  <a14:useLocalDpi xmlns:a14="http://schemas.microsoft.com/office/drawing/2010/main"/>
                </a:ext>
              </a:extLst>
            </a:blip>
            <a:srcRect/>
            <a:stretch/>
          </p:blipFill>
          <p:spPr>
            <a:xfrm>
              <a:off x="3043748" y="5505729"/>
              <a:ext cx="2000170" cy="451166"/>
            </a:xfrm>
            <a:prstGeom prst="rect">
              <a:avLst/>
            </a:prstGeom>
          </p:spPr>
        </p:pic>
        <p:pic>
          <p:nvPicPr>
            <p:cNvPr id="50" name="Picture 49" descr="A close up of a device&#10;&#10;Description automatically generated">
              <a:extLst>
                <a:ext uri="{FF2B5EF4-FFF2-40B4-BE49-F238E27FC236}">
                  <a16:creationId xmlns:a16="http://schemas.microsoft.com/office/drawing/2014/main" id="{16D417EE-2989-478D-6E10-FC7D0F82D6FF}"/>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0" b="100000" l="164" r="99726">
                          <a14:foregroundMark x1="12035" y1="66424" x2="16931" y2="73576"/>
                          <a14:foregroundMark x1="16931" y1="73576" x2="12226" y2="68364"/>
                          <a14:foregroundMark x1="12226" y1="68364" x2="17095" y2="72000"/>
                          <a14:foregroundMark x1="17095" y1="72000" x2="12473" y2="66424"/>
                          <a14:foregroundMark x1="12473" y1="66424" x2="17013" y2="60848"/>
                          <a14:foregroundMark x1="17013" y1="60848" x2="19365" y2="79030"/>
                          <a14:foregroundMark x1="19365" y1="79030" x2="14387" y2="81697"/>
                          <a14:foregroundMark x1="14387" y1="81697" x2="16466" y2="62182"/>
                          <a14:foregroundMark x1="16466" y1="62182" x2="17998" y2="67879"/>
                          <a14:foregroundMark x1="1887" y1="47152" x2="1094" y2="89818"/>
                          <a14:foregroundMark x1="1094" y1="89818" x2="164" y2="68606"/>
                          <a14:foregroundMark x1="164" y1="68606" x2="1997" y2="76970"/>
                          <a14:foregroundMark x1="99289" y1="51152" x2="99015" y2="92727"/>
                          <a14:foregroundMark x1="99015" y1="92727" x2="97183" y2="73212"/>
                          <a14:foregroundMark x1="97183" y1="73212" x2="98879" y2="53697"/>
                          <a14:foregroundMark x1="98879" y1="53697" x2="99754" y2="69939"/>
                        </a14:backgroundRemoval>
                      </a14:imgEffect>
                    </a14:imgLayer>
                  </a14:imgProps>
                </a:ext>
                <a:ext uri="{28A0092B-C50C-407E-A947-70E740481C1C}">
                  <a14:useLocalDpi xmlns:a14="http://schemas.microsoft.com/office/drawing/2010/main"/>
                </a:ext>
              </a:extLst>
            </a:blip>
            <a:srcRect/>
            <a:stretch/>
          </p:blipFill>
          <p:spPr>
            <a:xfrm>
              <a:off x="5143260" y="5494326"/>
              <a:ext cx="2000170" cy="451166"/>
            </a:xfrm>
            <a:prstGeom prst="rect">
              <a:avLst/>
            </a:prstGeom>
          </p:spPr>
        </p:pic>
        <p:pic>
          <p:nvPicPr>
            <p:cNvPr id="51" name="Picture 50" descr="A close up of a device&#10;&#10;Description automatically generated">
              <a:extLst>
                <a:ext uri="{FF2B5EF4-FFF2-40B4-BE49-F238E27FC236}">
                  <a16:creationId xmlns:a16="http://schemas.microsoft.com/office/drawing/2014/main" id="{C7BED7D4-B4A5-48AB-B06C-E685719CC598}"/>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0" b="100000" l="164" r="99726">
                          <a14:foregroundMark x1="12035" y1="66424" x2="16931" y2="73576"/>
                          <a14:foregroundMark x1="16931" y1="73576" x2="12226" y2="68364"/>
                          <a14:foregroundMark x1="12226" y1="68364" x2="17095" y2="72000"/>
                          <a14:foregroundMark x1="17095" y1="72000" x2="12473" y2="66424"/>
                          <a14:foregroundMark x1="12473" y1="66424" x2="17013" y2="60848"/>
                          <a14:foregroundMark x1="17013" y1="60848" x2="19365" y2="79030"/>
                          <a14:foregroundMark x1="19365" y1="79030" x2="14387" y2="81697"/>
                          <a14:foregroundMark x1="14387" y1="81697" x2="16466" y2="62182"/>
                          <a14:foregroundMark x1="16466" y1="62182" x2="17998" y2="67879"/>
                          <a14:foregroundMark x1="1887" y1="47152" x2="1094" y2="89818"/>
                          <a14:foregroundMark x1="1094" y1="89818" x2="164" y2="68606"/>
                          <a14:foregroundMark x1="164" y1="68606" x2="1997" y2="76970"/>
                          <a14:foregroundMark x1="99289" y1="51152" x2="99015" y2="92727"/>
                          <a14:foregroundMark x1="99015" y1="92727" x2="97183" y2="73212"/>
                          <a14:foregroundMark x1="97183" y1="73212" x2="98879" y2="53697"/>
                          <a14:foregroundMark x1="98879" y1="53697" x2="99754" y2="69939"/>
                        </a14:backgroundRemoval>
                      </a14:imgEffect>
                    </a14:imgLayer>
                  </a14:imgProps>
                </a:ext>
                <a:ext uri="{28A0092B-C50C-407E-A947-70E740481C1C}">
                  <a14:useLocalDpi xmlns:a14="http://schemas.microsoft.com/office/drawing/2010/main"/>
                </a:ext>
              </a:extLst>
            </a:blip>
            <a:srcRect/>
            <a:stretch/>
          </p:blipFill>
          <p:spPr>
            <a:xfrm>
              <a:off x="7210485" y="5486400"/>
              <a:ext cx="2000170" cy="451166"/>
            </a:xfrm>
            <a:prstGeom prst="rect">
              <a:avLst/>
            </a:prstGeom>
          </p:spPr>
        </p:pic>
      </p:grpSp>
      <p:pic>
        <p:nvPicPr>
          <p:cNvPr id="52" name="Picture 51">
            <a:extLst>
              <a:ext uri="{FF2B5EF4-FFF2-40B4-BE49-F238E27FC236}">
                <a16:creationId xmlns:a16="http://schemas.microsoft.com/office/drawing/2014/main" id="{2D8A2E4E-A8E9-94ED-C57C-5E63187514A3}"/>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997588" y="2988450"/>
            <a:ext cx="922224" cy="150327"/>
          </a:xfrm>
          <a:prstGeom prst="rect">
            <a:avLst/>
          </a:prstGeom>
        </p:spPr>
      </p:pic>
      <p:pic>
        <p:nvPicPr>
          <p:cNvPr id="53" name="Picture 52">
            <a:extLst>
              <a:ext uri="{FF2B5EF4-FFF2-40B4-BE49-F238E27FC236}">
                <a16:creationId xmlns:a16="http://schemas.microsoft.com/office/drawing/2014/main" id="{9E74F7AF-D3E4-77C1-9874-F9422A165B0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368984" y="2965611"/>
            <a:ext cx="931025" cy="381991"/>
          </a:xfrm>
          <a:prstGeom prst="rect">
            <a:avLst/>
          </a:prstGeom>
        </p:spPr>
      </p:pic>
      <p:pic>
        <p:nvPicPr>
          <p:cNvPr id="54" name="Picture 53">
            <a:extLst>
              <a:ext uri="{FF2B5EF4-FFF2-40B4-BE49-F238E27FC236}">
                <a16:creationId xmlns:a16="http://schemas.microsoft.com/office/drawing/2014/main" id="{5B402F71-001E-C177-A174-E3953138A93E}"/>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321194" y="3248977"/>
            <a:ext cx="880927" cy="108104"/>
          </a:xfrm>
          <a:prstGeom prst="rect">
            <a:avLst/>
          </a:prstGeom>
        </p:spPr>
      </p:pic>
      <p:sp>
        <p:nvSpPr>
          <p:cNvPr id="2" name="Slide Number Placeholder 1">
            <a:extLst>
              <a:ext uri="{FF2B5EF4-FFF2-40B4-BE49-F238E27FC236}">
                <a16:creationId xmlns:a16="http://schemas.microsoft.com/office/drawing/2014/main" id="{451BC23E-805A-16A4-46B4-112EA26864A3}"/>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11</a:t>
            </a:fld>
            <a:endParaRPr lang="en-US" dirty="0"/>
          </a:p>
        </p:txBody>
      </p:sp>
    </p:spTree>
    <p:extLst>
      <p:ext uri="{BB962C8B-B14F-4D97-AF65-F5344CB8AC3E}">
        <p14:creationId xmlns:p14="http://schemas.microsoft.com/office/powerpoint/2010/main" val="20866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391FF8-DC41-43D8-BE2F-A57B34C4FA9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1414463" y="685801"/>
            <a:ext cx="9363075" cy="5480050"/>
          </a:xfrm>
        </p:spPr>
        <p:txBody>
          <a:bodyPr/>
          <a:lstStyle/>
          <a:p>
            <a:r>
              <a:rPr lang="en-GB" dirty="0" err="1">
                <a:solidFill>
                  <a:schemeClr val="bg1"/>
                </a:solidFill>
              </a:rPr>
              <a:t>Magia</a:t>
            </a:r>
            <a:r>
              <a:rPr lang="en-GB" dirty="0">
                <a:solidFill>
                  <a:schemeClr val="bg1"/>
                </a:solidFill>
              </a:rPr>
              <a:t> </a:t>
            </a:r>
            <a:r>
              <a:rPr lang="en-GB" dirty="0" err="1">
                <a:solidFill>
                  <a:schemeClr val="bg1"/>
                </a:solidFill>
              </a:rPr>
              <a:t>rozproszonej</a:t>
            </a:r>
            <a:r>
              <a:rPr lang="en-GB" dirty="0">
                <a:solidFill>
                  <a:schemeClr val="bg1"/>
                </a:solidFill>
              </a:rPr>
              <a:t> </a:t>
            </a:r>
            <a:r>
              <a:rPr lang="en-GB" dirty="0" err="1">
                <a:solidFill>
                  <a:schemeClr val="bg1"/>
                </a:solidFill>
              </a:rPr>
              <a:t>zapory</a:t>
            </a:r>
            <a:r>
              <a:rPr lang="en-GB" dirty="0">
                <a:solidFill>
                  <a:schemeClr val="bg1"/>
                </a:solidFill>
              </a:rPr>
              <a:t> </a:t>
            </a:r>
            <a:r>
              <a:rPr lang="en-GB" dirty="0" err="1">
                <a:solidFill>
                  <a:schemeClr val="bg1"/>
                </a:solidFill>
              </a:rPr>
              <a:t>dla</a:t>
            </a:r>
            <a:r>
              <a:rPr lang="en-GB" dirty="0">
                <a:solidFill>
                  <a:schemeClr val="bg1"/>
                </a:solidFill>
              </a:rPr>
              <a:t> Data </a:t>
            </a:r>
            <a:r>
              <a:rPr lang="en-GB" dirty="0" err="1">
                <a:solidFill>
                  <a:schemeClr val="bg1"/>
                </a:solidFill>
              </a:rPr>
              <a:t>Center</a:t>
            </a:r>
            <a:r>
              <a:rPr lang="en-GB" dirty="0">
                <a:solidFill>
                  <a:schemeClr val="bg1"/>
                </a:solidFill>
              </a:rPr>
              <a:t> – jak to </a:t>
            </a:r>
            <a:r>
              <a:rPr lang="en-GB" dirty="0" err="1">
                <a:solidFill>
                  <a:schemeClr val="bg1"/>
                </a:solidFill>
              </a:rPr>
              <a:t>działa</a:t>
            </a:r>
            <a:r>
              <a:rPr lang="en-GB" dirty="0">
                <a:solidFill>
                  <a:schemeClr val="bg1"/>
                </a:solidFill>
              </a:rPr>
              <a:t>?</a:t>
            </a:r>
            <a:endParaRPr lang="en-US" dirty="0"/>
          </a:p>
        </p:txBody>
      </p:sp>
      <p:sp>
        <p:nvSpPr>
          <p:cNvPr id="4" name="Element">
            <a:extLst>
              <a:ext uri="{FF2B5EF4-FFF2-40B4-BE49-F238E27FC236}">
                <a16:creationId xmlns:a16="http://schemas.microsoft.com/office/drawing/2014/main" id="{B4ECC0F1-8088-4BAC-B322-75D55D5633C9}"/>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Tree>
    <p:extLst>
      <p:ext uri="{BB962C8B-B14F-4D97-AF65-F5344CB8AC3E}">
        <p14:creationId xmlns:p14="http://schemas.microsoft.com/office/powerpoint/2010/main" val="175680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B20D75-11FE-F84C-3C48-DF3AE22E99EE}"/>
              </a:ext>
            </a:extLst>
          </p:cNvPr>
          <p:cNvSpPr>
            <a:spLocks noGrp="1"/>
          </p:cNvSpPr>
          <p:nvPr>
            <p:ph type="title"/>
          </p:nvPr>
        </p:nvSpPr>
        <p:spPr/>
        <p:txBody>
          <a:bodyPr/>
          <a:lstStyle/>
          <a:p>
            <a:r>
              <a:rPr lang="en-US" dirty="0" err="1"/>
              <a:t>Architektura</a:t>
            </a:r>
            <a:r>
              <a:rPr lang="en-US" dirty="0"/>
              <a:t> </a:t>
            </a:r>
            <a:r>
              <a:rPr lang="en-US" dirty="0" err="1"/>
              <a:t>usług</a:t>
            </a:r>
            <a:r>
              <a:rPr lang="en-US" dirty="0"/>
              <a:t> </a:t>
            </a:r>
            <a:r>
              <a:rPr lang="en-US" dirty="0" err="1"/>
              <a:t>scentralizowanych</a:t>
            </a:r>
            <a:endParaRPr lang="en-PL" dirty="0"/>
          </a:p>
        </p:txBody>
      </p:sp>
      <p:graphicFrame>
        <p:nvGraphicFramePr>
          <p:cNvPr id="10" name="Content Placeholder 4">
            <a:extLst>
              <a:ext uri="{FF2B5EF4-FFF2-40B4-BE49-F238E27FC236}">
                <a16:creationId xmlns:a16="http://schemas.microsoft.com/office/drawing/2014/main" id="{7D7F8C74-322E-4E9E-9BA5-7C865A164EB9}"/>
              </a:ext>
            </a:extLst>
          </p:cNvPr>
          <p:cNvGraphicFramePr>
            <a:graphicFrameLocks noGrp="1"/>
          </p:cNvGraphicFramePr>
          <p:nvPr>
            <p:ph idx="4294967295"/>
            <p:extLst>
              <p:ext uri="{D42A27DB-BD31-4B8C-83A1-F6EECF244321}">
                <p14:modId xmlns:p14="http://schemas.microsoft.com/office/powerpoint/2010/main" val="732681470"/>
              </p:ext>
            </p:extLst>
          </p:nvPr>
        </p:nvGraphicFramePr>
        <p:xfrm>
          <a:off x="0" y="998538"/>
          <a:ext cx="11406188" cy="5097462"/>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2">
            <a:extLst>
              <a:ext uri="{FF2B5EF4-FFF2-40B4-BE49-F238E27FC236}">
                <a16:creationId xmlns:a16="http://schemas.microsoft.com/office/drawing/2014/main" id="{AF45A775-E09E-5D89-DC87-5E0023B51D5D}"/>
              </a:ext>
            </a:extLst>
          </p:cNvPr>
          <p:cNvSpPr txBox="1">
            <a:spLocks/>
          </p:cNvSpPr>
          <p:nvPr/>
        </p:nvSpPr>
        <p:spPr>
          <a:xfrm>
            <a:off x="609441" y="519236"/>
            <a:ext cx="10969943" cy="5335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dirty="0"/>
          </a:p>
        </p:txBody>
      </p:sp>
      <p:pic>
        <p:nvPicPr>
          <p:cNvPr id="5" name="Picture 4" descr="A diagram of a network&#10;&#10;Description automatically generated">
            <a:extLst>
              <a:ext uri="{FF2B5EF4-FFF2-40B4-BE49-F238E27FC236}">
                <a16:creationId xmlns:a16="http://schemas.microsoft.com/office/drawing/2014/main" id="{ECAE2E55-4BFF-DAF9-16BA-2404387A907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1319486"/>
            <a:ext cx="8461295" cy="5277004"/>
          </a:xfrm>
          <a:prstGeom prst="rect">
            <a:avLst/>
          </a:prstGeom>
        </p:spPr>
      </p:pic>
      <p:sp>
        <p:nvSpPr>
          <p:cNvPr id="6" name="TextBox 5">
            <a:extLst>
              <a:ext uri="{FF2B5EF4-FFF2-40B4-BE49-F238E27FC236}">
                <a16:creationId xmlns:a16="http://schemas.microsoft.com/office/drawing/2014/main" id="{4DFAE9C1-BCD7-A820-8868-03FBA09F1EF5}"/>
              </a:ext>
            </a:extLst>
          </p:cNvPr>
          <p:cNvSpPr txBox="1"/>
          <p:nvPr/>
        </p:nvSpPr>
        <p:spPr>
          <a:xfrm>
            <a:off x="8375934" y="785986"/>
            <a:ext cx="3816066" cy="5310014"/>
          </a:xfrm>
          <a:prstGeom prst="rect">
            <a:avLst/>
          </a:prstGeom>
          <a:noFill/>
          <a:ln w="57150">
            <a:noFill/>
            <a:miter lim="800000"/>
          </a:ln>
        </p:spPr>
        <p:txBody>
          <a:bodyPr wrap="square" lIns="90000" tIns="90000" rIns="90000" bIns="90000" rtlCol="0" anchor="ctr" anchorCtr="0">
            <a:noAutofit/>
          </a:bodyPr>
          <a:lstStyle/>
          <a:p>
            <a:r>
              <a:rPr lang="en-GB" b="1" dirty="0" err="1">
                <a:effectLst/>
              </a:rPr>
              <a:t>Scentralizowane</a:t>
            </a:r>
            <a:r>
              <a:rPr lang="en-GB" b="1" dirty="0">
                <a:effectLst/>
              </a:rPr>
              <a:t> </a:t>
            </a:r>
            <a:r>
              <a:rPr lang="en-GB" b="1" dirty="0" err="1">
                <a:effectLst/>
              </a:rPr>
              <a:t>usługi</a:t>
            </a:r>
            <a:r>
              <a:rPr lang="en-GB" b="1" dirty="0">
                <a:effectLst/>
              </a:rPr>
              <a:t> </a:t>
            </a:r>
            <a:r>
              <a:rPr lang="en-GB" b="1" dirty="0" err="1">
                <a:effectLst/>
              </a:rPr>
              <a:t>starfull</a:t>
            </a:r>
            <a:r>
              <a:rPr lang="en-GB" b="1" dirty="0">
                <a:effectLst/>
              </a:rPr>
              <a:t> firewall:</a:t>
            </a:r>
            <a:endParaRPr lang="en-GB" dirty="0">
              <a:effectLst/>
            </a:endParaRPr>
          </a:p>
          <a:p>
            <a:pPr marL="285750" indent="-285750">
              <a:buFont typeface="Arial" panose="020B0604020202020204" pitchFamily="34" charset="0"/>
              <a:buChar char="•"/>
            </a:pPr>
            <a:r>
              <a:rPr lang="en-GB" dirty="0" err="1">
                <a:effectLst/>
              </a:rPr>
              <a:t>zarządzane</a:t>
            </a:r>
            <a:r>
              <a:rPr lang="en-GB" dirty="0">
                <a:effectLst/>
              </a:rPr>
              <a:t> z </a:t>
            </a:r>
            <a:r>
              <a:rPr lang="en-GB" dirty="0" err="1">
                <a:effectLst/>
              </a:rPr>
              <a:t>poziomu</a:t>
            </a:r>
            <a:r>
              <a:rPr lang="en-GB" dirty="0">
                <a:effectLst/>
              </a:rPr>
              <a:t> </a:t>
            </a:r>
            <a:r>
              <a:rPr lang="en-GB" dirty="0" err="1">
                <a:effectLst/>
              </a:rPr>
              <a:t>pojedynczego</a:t>
            </a:r>
            <a:r>
              <a:rPr lang="en-GB" dirty="0">
                <a:effectLst/>
              </a:rPr>
              <a:t> appliance</a:t>
            </a:r>
          </a:p>
          <a:p>
            <a:pPr marL="285750" indent="-285750">
              <a:buFont typeface="Arial" panose="020B0604020202020204" pitchFamily="34" charset="0"/>
              <a:buChar char="•"/>
            </a:pPr>
            <a:r>
              <a:rPr lang="en-GB" dirty="0" err="1">
                <a:effectLst/>
              </a:rPr>
              <a:t>zapewniają</a:t>
            </a:r>
            <a:r>
              <a:rPr lang="en-GB" dirty="0">
                <a:effectLst/>
              </a:rPr>
              <a:t> </a:t>
            </a:r>
            <a:r>
              <a:rPr lang="en-GB" dirty="0" err="1">
                <a:effectLst/>
              </a:rPr>
              <a:t>przełączanie</a:t>
            </a:r>
            <a:r>
              <a:rPr lang="en-GB" dirty="0">
                <a:effectLst/>
              </a:rPr>
              <a:t> </a:t>
            </a:r>
            <a:r>
              <a:rPr lang="en-GB" dirty="0" err="1">
                <a:effectLst/>
              </a:rPr>
              <a:t>awaryjne</a:t>
            </a:r>
            <a:r>
              <a:rPr lang="en-GB" dirty="0">
                <a:effectLst/>
              </a:rPr>
              <a:t> (</a:t>
            </a:r>
            <a:r>
              <a:rPr lang="en-GB" dirty="0" err="1">
                <a:effectLst/>
              </a:rPr>
              <a:t>dla</a:t>
            </a:r>
            <a:r>
              <a:rPr lang="en-GB" dirty="0">
                <a:effectLst/>
              </a:rPr>
              <a:t> </a:t>
            </a:r>
            <a:r>
              <a:rPr lang="en-GB" dirty="0" err="1">
                <a:effectLst/>
              </a:rPr>
              <a:t>klastra</a:t>
            </a:r>
            <a:r>
              <a:rPr lang="en-GB" dirty="0">
                <a:effectLst/>
              </a:rPr>
              <a:t> </a:t>
            </a:r>
            <a:r>
              <a:rPr lang="en-GB" dirty="0"/>
              <a:t>HA) </a:t>
            </a:r>
          </a:p>
          <a:p>
            <a:pPr marL="285750" indent="-285750">
              <a:buFont typeface="Arial" panose="020B0604020202020204" pitchFamily="34" charset="0"/>
              <a:buChar char="•"/>
            </a:pPr>
            <a:r>
              <a:rPr lang="en-GB" dirty="0" err="1">
                <a:effectLst/>
              </a:rPr>
              <a:t>zbierają</a:t>
            </a:r>
            <a:r>
              <a:rPr lang="en-GB" dirty="0">
                <a:effectLst/>
              </a:rPr>
              <a:t> </a:t>
            </a:r>
            <a:r>
              <a:rPr lang="en-GB" dirty="0" err="1">
                <a:effectLst/>
              </a:rPr>
              <a:t>logi</a:t>
            </a:r>
            <a:r>
              <a:rPr lang="en-GB" dirty="0">
                <a:effectLst/>
              </a:rPr>
              <a:t> </a:t>
            </a:r>
            <a:r>
              <a:rPr lang="en-GB" dirty="0" err="1">
                <a:effectLst/>
              </a:rPr>
              <a:t>zapory</a:t>
            </a:r>
            <a:r>
              <a:rPr lang="en-GB" dirty="0">
                <a:effectLst/>
              </a:rPr>
              <a:t> </a:t>
            </a:r>
            <a:r>
              <a:rPr lang="en-GB" dirty="0" err="1">
                <a:effectLst/>
              </a:rPr>
              <a:t>sieciowej</a:t>
            </a:r>
            <a:endParaRPr lang="en-GB" dirty="0">
              <a:effectLst/>
            </a:endParaRPr>
          </a:p>
          <a:p>
            <a:pPr marL="285750" indent="-285750">
              <a:buFont typeface="Arial" panose="020B0604020202020204" pitchFamily="34" charset="0"/>
              <a:buChar char="•"/>
            </a:pPr>
            <a:r>
              <a:rPr lang="en-GB" dirty="0" err="1">
                <a:effectLst/>
              </a:rPr>
              <a:t>Zapora</a:t>
            </a:r>
            <a:r>
              <a:rPr lang="en-GB" dirty="0">
                <a:effectLst/>
              </a:rPr>
              <a:t> </a:t>
            </a:r>
            <a:r>
              <a:rPr lang="en-GB" dirty="0" err="1">
                <a:effectLst/>
              </a:rPr>
              <a:t>sieciowa</a:t>
            </a:r>
            <a:r>
              <a:rPr lang="en-GB" dirty="0">
                <a:effectLst/>
              </a:rPr>
              <a:t> </a:t>
            </a:r>
            <a:r>
              <a:rPr lang="en-GB" dirty="0" err="1">
                <a:effectLst/>
              </a:rPr>
              <a:t>zapewnia</a:t>
            </a:r>
            <a:r>
              <a:rPr lang="en-GB" dirty="0">
                <a:effectLst/>
              </a:rPr>
              <a:t> </a:t>
            </a:r>
            <a:r>
              <a:rPr lang="en-GB" dirty="0" err="1">
                <a:effectLst/>
              </a:rPr>
              <a:t>funkcję</a:t>
            </a:r>
            <a:r>
              <a:rPr lang="en-GB" dirty="0">
                <a:effectLst/>
              </a:rPr>
              <a:t> </a:t>
            </a:r>
            <a:r>
              <a:rPr lang="en-GB" dirty="0" err="1">
                <a:effectLst/>
              </a:rPr>
              <a:t>bramy</a:t>
            </a:r>
            <a:r>
              <a:rPr lang="en-GB" dirty="0">
                <a:effectLst/>
              </a:rPr>
              <a:t> </a:t>
            </a:r>
            <a:r>
              <a:rPr lang="en-GB" dirty="0" err="1">
                <a:effectLst/>
              </a:rPr>
              <a:t>domyślnej</a:t>
            </a:r>
            <a:r>
              <a:rPr lang="en-GB" dirty="0">
                <a:effectLst/>
              </a:rPr>
              <a:t> w </a:t>
            </a:r>
            <a:r>
              <a:rPr lang="en-GB" dirty="0" err="1">
                <a:effectLst/>
              </a:rPr>
              <a:t>sieci</a:t>
            </a:r>
            <a:r>
              <a:rPr lang="en-GB" dirty="0">
                <a:effectLst/>
              </a:rPr>
              <a:t> w </a:t>
            </a:r>
            <a:r>
              <a:rPr lang="en-GB" dirty="0" err="1">
                <a:effectLst/>
              </a:rPr>
              <a:t>celu</a:t>
            </a:r>
            <a:r>
              <a:rPr lang="en-GB" dirty="0">
                <a:effectLst/>
              </a:rPr>
              <a:t> </a:t>
            </a:r>
            <a:r>
              <a:rPr lang="en-GB" dirty="0" err="1">
                <a:effectLst/>
              </a:rPr>
              <a:t>kierowania</a:t>
            </a:r>
            <a:r>
              <a:rPr lang="en-GB" dirty="0">
                <a:effectLst/>
              </a:rPr>
              <a:t> </a:t>
            </a:r>
            <a:r>
              <a:rPr lang="en-GB" dirty="0" err="1">
                <a:effectLst/>
              </a:rPr>
              <a:t>ruchu</a:t>
            </a:r>
            <a:r>
              <a:rPr lang="en-GB" dirty="0">
                <a:effectLst/>
              </a:rPr>
              <a:t> </a:t>
            </a:r>
          </a:p>
          <a:p>
            <a:pPr marL="285750" indent="-285750">
              <a:buFont typeface="Arial" panose="020B0604020202020204" pitchFamily="34" charset="0"/>
              <a:buChar char="•"/>
            </a:pPr>
            <a:r>
              <a:rPr lang="en-GB" dirty="0" err="1">
                <a:effectLst/>
              </a:rPr>
              <a:t>Schemat</a:t>
            </a:r>
            <a:r>
              <a:rPr lang="en-GB" dirty="0">
                <a:effectLst/>
              </a:rPr>
              <a:t> </a:t>
            </a:r>
            <a:r>
              <a:rPr lang="en-GB" dirty="0" err="1">
                <a:effectLst/>
              </a:rPr>
              <a:t>adresowania</a:t>
            </a:r>
            <a:r>
              <a:rPr lang="en-GB" dirty="0">
                <a:effectLst/>
              </a:rPr>
              <a:t> IP </a:t>
            </a:r>
            <a:r>
              <a:rPr lang="en-GB" dirty="0" err="1">
                <a:effectLst/>
              </a:rPr>
              <a:t>musi</a:t>
            </a:r>
            <a:r>
              <a:rPr lang="en-GB" dirty="0">
                <a:effectLst/>
              </a:rPr>
              <a:t> </a:t>
            </a:r>
            <a:r>
              <a:rPr lang="en-GB" dirty="0" err="1">
                <a:effectLst/>
              </a:rPr>
              <a:t>odzwierciedlać</a:t>
            </a:r>
            <a:r>
              <a:rPr lang="en-GB" dirty="0">
                <a:effectLst/>
              </a:rPr>
              <a:t> </a:t>
            </a:r>
            <a:r>
              <a:rPr lang="en-GB" dirty="0" err="1">
                <a:effectLst/>
              </a:rPr>
              <a:t>separację</a:t>
            </a:r>
            <a:r>
              <a:rPr lang="en-GB" dirty="0">
                <a:effectLst/>
              </a:rPr>
              <a:t> </a:t>
            </a:r>
            <a:r>
              <a:rPr lang="en-GB" dirty="0" err="1">
                <a:effectLst/>
              </a:rPr>
              <a:t>dla</a:t>
            </a:r>
            <a:r>
              <a:rPr lang="en-GB" dirty="0">
                <a:effectLst/>
              </a:rPr>
              <a:t> </a:t>
            </a:r>
            <a:r>
              <a:rPr lang="en-GB" dirty="0" err="1">
                <a:effectLst/>
              </a:rPr>
              <a:t>egzekwowania</a:t>
            </a:r>
            <a:r>
              <a:rPr lang="en-GB" dirty="0">
                <a:effectLst/>
              </a:rPr>
              <a:t> </a:t>
            </a:r>
            <a:r>
              <a:rPr lang="en-GB" dirty="0" err="1">
                <a:effectLst/>
              </a:rPr>
              <a:t>polityki</a:t>
            </a:r>
            <a:r>
              <a:rPr lang="en-GB" dirty="0">
                <a:effectLst/>
              </a:rPr>
              <a:t> </a:t>
            </a:r>
            <a:r>
              <a:rPr lang="en-GB" dirty="0" err="1">
                <a:effectLst/>
              </a:rPr>
              <a:t>stanowej</a:t>
            </a:r>
            <a:endParaRPr lang="en-GB" dirty="0">
              <a:effectLst/>
            </a:endParaRPr>
          </a:p>
          <a:p>
            <a:pPr marL="285750" indent="-285750">
              <a:buFont typeface="Arial" panose="020B0604020202020204" pitchFamily="34" charset="0"/>
              <a:buChar char="•"/>
            </a:pPr>
            <a:endParaRPr lang="en-GB" dirty="0">
              <a:effectLst/>
            </a:endParaRPr>
          </a:p>
          <a:p>
            <a:r>
              <a:rPr lang="en-GB" b="1" dirty="0" err="1">
                <a:effectLst/>
              </a:rPr>
              <a:t>Przekierowanie</a:t>
            </a:r>
            <a:r>
              <a:rPr lang="en-GB" b="1" dirty="0">
                <a:effectLst/>
              </a:rPr>
              <a:t> do </a:t>
            </a:r>
            <a:r>
              <a:rPr lang="en-GB" b="1" dirty="0" err="1">
                <a:effectLst/>
              </a:rPr>
              <a:t>zapory</a:t>
            </a:r>
            <a:r>
              <a:rPr lang="en-GB" b="1" dirty="0">
                <a:effectLst/>
              </a:rPr>
              <a:t> </a:t>
            </a:r>
            <a:r>
              <a:rPr lang="en-GB" b="1" dirty="0" err="1">
                <a:effectLst/>
              </a:rPr>
              <a:t>sieciowej</a:t>
            </a:r>
            <a:r>
              <a:rPr lang="en-GB" b="1" dirty="0">
                <a:effectLst/>
              </a:rPr>
              <a:t>:</a:t>
            </a:r>
            <a:endParaRPr lang="en-GB" dirty="0">
              <a:effectLst/>
            </a:endParaRPr>
          </a:p>
          <a:p>
            <a:pPr marL="285750" indent="-285750">
              <a:buFont typeface="Arial" panose="020B0604020202020204" pitchFamily="34" charset="0"/>
              <a:buChar char="•"/>
            </a:pPr>
            <a:r>
              <a:rPr lang="en-GB" dirty="0" err="1">
                <a:effectLst/>
              </a:rPr>
              <a:t>zwiększa</a:t>
            </a:r>
            <a:r>
              <a:rPr lang="en-GB" dirty="0">
                <a:effectLst/>
              </a:rPr>
              <a:t> </a:t>
            </a:r>
            <a:r>
              <a:rPr lang="en-GB" dirty="0" err="1">
                <a:effectLst/>
              </a:rPr>
              <a:t>opóźnienia</a:t>
            </a:r>
            <a:endParaRPr lang="en-GB" dirty="0">
              <a:effectLst/>
            </a:endParaRPr>
          </a:p>
          <a:p>
            <a:pPr marL="285750" indent="-285750">
              <a:buFont typeface="Arial" panose="020B0604020202020204" pitchFamily="34" charset="0"/>
              <a:buChar char="•"/>
            </a:pPr>
            <a:r>
              <a:rPr lang="en-GB" dirty="0" err="1">
                <a:effectLst/>
              </a:rPr>
              <a:t>zużywa</a:t>
            </a:r>
            <a:r>
              <a:rPr lang="en-GB" dirty="0">
                <a:effectLst/>
              </a:rPr>
              <a:t> </a:t>
            </a:r>
            <a:r>
              <a:rPr lang="en-GB" dirty="0" err="1">
                <a:effectLst/>
              </a:rPr>
              <a:t>przepustowość</a:t>
            </a:r>
            <a:r>
              <a:rPr lang="en-GB" dirty="0">
                <a:effectLst/>
              </a:rPr>
              <a:t> </a:t>
            </a:r>
            <a:r>
              <a:rPr lang="en-GB" dirty="0" err="1">
                <a:effectLst/>
              </a:rPr>
              <a:t>sieci</a:t>
            </a:r>
            <a:endParaRPr lang="en-GB" dirty="0">
              <a:effectLst/>
            </a:endParaRPr>
          </a:p>
          <a:p>
            <a:pPr marL="285750" indent="-285750">
              <a:buFont typeface="Arial" panose="020B0604020202020204" pitchFamily="34" charset="0"/>
              <a:buChar char="•"/>
            </a:pPr>
            <a:r>
              <a:rPr lang="en-GB" dirty="0" err="1">
                <a:effectLst/>
              </a:rPr>
              <a:t>zwiększa</a:t>
            </a:r>
            <a:r>
              <a:rPr lang="en-GB" dirty="0">
                <a:effectLst/>
              </a:rPr>
              <a:t> </a:t>
            </a:r>
            <a:r>
              <a:rPr lang="en-GB" dirty="0" err="1">
                <a:effectLst/>
              </a:rPr>
              <a:t>złożoność</a:t>
            </a:r>
            <a:endParaRPr lang="en-GB" dirty="0">
              <a:effectLst/>
            </a:endParaRPr>
          </a:p>
          <a:p>
            <a:pPr marL="285750" indent="-285750">
              <a:buFont typeface="Arial" panose="020B0604020202020204" pitchFamily="34" charset="0"/>
              <a:buChar char="•"/>
            </a:pPr>
            <a:r>
              <a:rPr lang="en-GB" dirty="0" err="1"/>
              <a:t>Zwiększenie</a:t>
            </a:r>
            <a:r>
              <a:rPr lang="en-GB" dirty="0"/>
              <a:t> </a:t>
            </a:r>
            <a:r>
              <a:rPr lang="en-GB" dirty="0" err="1"/>
              <a:t>kosztów</a:t>
            </a:r>
            <a:r>
              <a:rPr lang="en-GB" dirty="0"/>
              <a:t> </a:t>
            </a:r>
            <a:r>
              <a:rPr lang="en-GB" dirty="0" err="1"/>
              <a:t>zakupu</a:t>
            </a:r>
            <a:r>
              <a:rPr lang="en-GB" dirty="0"/>
              <a:t> I </a:t>
            </a:r>
            <a:r>
              <a:rPr lang="en-GB" dirty="0" err="1"/>
              <a:t>utrzymania</a:t>
            </a:r>
            <a:r>
              <a:rPr lang="en-GB" dirty="0"/>
              <a:t> </a:t>
            </a:r>
            <a:r>
              <a:rPr lang="en-GB" dirty="0" err="1"/>
              <a:t>architektury</a:t>
            </a:r>
            <a:endParaRPr lang="en-GB" dirty="0">
              <a:effectLst/>
            </a:endParaRPr>
          </a:p>
        </p:txBody>
      </p:sp>
      <p:sp>
        <p:nvSpPr>
          <p:cNvPr id="2" name="Slide Number Placeholder 1">
            <a:extLst>
              <a:ext uri="{FF2B5EF4-FFF2-40B4-BE49-F238E27FC236}">
                <a16:creationId xmlns:a16="http://schemas.microsoft.com/office/drawing/2014/main" id="{E0C5C943-96B8-C9FB-671F-5F1030B048A7}"/>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13</a:t>
            </a:fld>
            <a:endParaRPr lang="en-US" dirty="0"/>
          </a:p>
        </p:txBody>
      </p:sp>
    </p:spTree>
    <p:custDataLst>
      <p:tags r:id="rId1"/>
    </p:custDataLst>
    <p:extLst>
      <p:ext uri="{BB962C8B-B14F-4D97-AF65-F5344CB8AC3E}">
        <p14:creationId xmlns:p14="http://schemas.microsoft.com/office/powerpoint/2010/main" val="315000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B20D75-11FE-F84C-3C48-DF3AE22E99EE}"/>
              </a:ext>
            </a:extLst>
          </p:cNvPr>
          <p:cNvSpPr>
            <a:spLocks noGrp="1"/>
          </p:cNvSpPr>
          <p:nvPr>
            <p:ph type="title"/>
          </p:nvPr>
        </p:nvSpPr>
        <p:spPr/>
        <p:txBody>
          <a:bodyPr/>
          <a:lstStyle/>
          <a:p>
            <a:r>
              <a:rPr lang="en-US" dirty="0" err="1"/>
              <a:t>Architektura</a:t>
            </a:r>
            <a:r>
              <a:rPr lang="en-US" dirty="0"/>
              <a:t> </a:t>
            </a:r>
            <a:r>
              <a:rPr lang="en-US" dirty="0" err="1"/>
              <a:t>usług</a:t>
            </a:r>
            <a:r>
              <a:rPr lang="en-US" dirty="0"/>
              <a:t> </a:t>
            </a:r>
            <a:r>
              <a:rPr lang="en-US" dirty="0" err="1"/>
              <a:t>rozproszonych</a:t>
            </a:r>
            <a:endParaRPr lang="en-PL" dirty="0"/>
          </a:p>
        </p:txBody>
      </p:sp>
      <p:graphicFrame>
        <p:nvGraphicFramePr>
          <p:cNvPr id="10" name="Content Placeholder 4">
            <a:extLst>
              <a:ext uri="{FF2B5EF4-FFF2-40B4-BE49-F238E27FC236}">
                <a16:creationId xmlns:a16="http://schemas.microsoft.com/office/drawing/2014/main" id="{7D7F8C74-322E-4E9E-9BA5-7C865A164EB9}"/>
              </a:ext>
            </a:extLst>
          </p:cNvPr>
          <p:cNvGraphicFramePr>
            <a:graphicFrameLocks noGrp="1"/>
          </p:cNvGraphicFramePr>
          <p:nvPr>
            <p:ph idx="4294967295"/>
            <p:extLst>
              <p:ext uri="{D42A27DB-BD31-4B8C-83A1-F6EECF244321}">
                <p14:modId xmlns:p14="http://schemas.microsoft.com/office/powerpoint/2010/main" val="1019011466"/>
              </p:ext>
            </p:extLst>
          </p:nvPr>
        </p:nvGraphicFramePr>
        <p:xfrm>
          <a:off x="0" y="998538"/>
          <a:ext cx="11406188" cy="5097462"/>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2">
            <a:extLst>
              <a:ext uri="{FF2B5EF4-FFF2-40B4-BE49-F238E27FC236}">
                <a16:creationId xmlns:a16="http://schemas.microsoft.com/office/drawing/2014/main" id="{AF45A775-E09E-5D89-DC87-5E0023B51D5D}"/>
              </a:ext>
            </a:extLst>
          </p:cNvPr>
          <p:cNvSpPr txBox="1">
            <a:spLocks/>
          </p:cNvSpPr>
          <p:nvPr/>
        </p:nvSpPr>
        <p:spPr>
          <a:xfrm>
            <a:off x="609441" y="519236"/>
            <a:ext cx="10969943" cy="5335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dirty="0"/>
          </a:p>
        </p:txBody>
      </p:sp>
      <p:pic>
        <p:nvPicPr>
          <p:cNvPr id="11" name="Picture 10" descr="A diagram of a network&#10;&#10;Description automatically generated">
            <a:extLst>
              <a:ext uri="{FF2B5EF4-FFF2-40B4-BE49-F238E27FC236}">
                <a16:creationId xmlns:a16="http://schemas.microsoft.com/office/drawing/2014/main" id="{CB4C14A3-331F-0DDF-7FBB-AA90DC8059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4698" y="920598"/>
            <a:ext cx="8129173" cy="5877105"/>
          </a:xfrm>
          <a:prstGeom prst="rect">
            <a:avLst/>
          </a:prstGeom>
        </p:spPr>
      </p:pic>
      <p:sp>
        <p:nvSpPr>
          <p:cNvPr id="12" name="TextBox 11">
            <a:extLst>
              <a:ext uri="{FF2B5EF4-FFF2-40B4-BE49-F238E27FC236}">
                <a16:creationId xmlns:a16="http://schemas.microsoft.com/office/drawing/2014/main" id="{1AE87834-05D0-EFFF-EEB3-8FF7C2DD367C}"/>
              </a:ext>
            </a:extLst>
          </p:cNvPr>
          <p:cNvSpPr txBox="1"/>
          <p:nvPr/>
        </p:nvSpPr>
        <p:spPr>
          <a:xfrm>
            <a:off x="8254652" y="60297"/>
            <a:ext cx="3937347" cy="6797703"/>
          </a:xfrm>
          <a:prstGeom prst="rect">
            <a:avLst/>
          </a:prstGeom>
          <a:noFill/>
          <a:ln w="57150">
            <a:noFill/>
            <a:miter lim="800000"/>
          </a:ln>
        </p:spPr>
        <p:txBody>
          <a:bodyPr wrap="square" lIns="90000" tIns="90000" rIns="90000" bIns="90000" rtlCol="0" anchor="ctr" anchorCtr="0">
            <a:noAutofit/>
          </a:bodyPr>
          <a:lstStyle/>
          <a:p>
            <a:r>
              <a:rPr lang="en-GB" b="1" dirty="0" err="1">
                <a:effectLst/>
              </a:rPr>
              <a:t>Decentralizowane</a:t>
            </a:r>
            <a:r>
              <a:rPr lang="en-GB" b="1" dirty="0">
                <a:effectLst/>
              </a:rPr>
              <a:t> </a:t>
            </a:r>
            <a:r>
              <a:rPr lang="en-GB" b="1" dirty="0" err="1">
                <a:effectLst/>
              </a:rPr>
              <a:t>usługi</a:t>
            </a:r>
            <a:r>
              <a:rPr lang="en-GB" b="1" dirty="0">
                <a:effectLst/>
              </a:rPr>
              <a:t> </a:t>
            </a:r>
            <a:r>
              <a:rPr lang="en-GB" b="1" dirty="0" err="1">
                <a:effectLst/>
              </a:rPr>
              <a:t>typu</a:t>
            </a:r>
            <a:r>
              <a:rPr lang="en-GB" b="1" dirty="0">
                <a:effectLst/>
              </a:rPr>
              <a:t> </a:t>
            </a:r>
            <a:r>
              <a:rPr lang="en-GB" b="1" dirty="0" err="1">
                <a:effectLst/>
              </a:rPr>
              <a:t>starfull</a:t>
            </a:r>
            <a:r>
              <a:rPr lang="en-GB" b="1" dirty="0">
                <a:effectLst/>
              </a:rPr>
              <a:t>:</a:t>
            </a:r>
            <a:endParaRPr lang="en-GB" dirty="0">
              <a:effectLst/>
            </a:endParaRPr>
          </a:p>
          <a:p>
            <a:pPr marL="285750" indent="-285750">
              <a:buFont typeface="Wingdings" pitchFamily="2" charset="77"/>
              <a:buChar char="§"/>
            </a:pPr>
            <a:r>
              <a:rPr lang="en-GB" dirty="0" err="1">
                <a:effectLst/>
              </a:rPr>
              <a:t>Dostarczane</a:t>
            </a:r>
            <a:r>
              <a:rPr lang="en-GB" dirty="0">
                <a:effectLst/>
              </a:rPr>
              <a:t> </a:t>
            </a:r>
            <a:r>
              <a:rPr lang="en-GB" dirty="0" err="1">
                <a:effectLst/>
              </a:rPr>
              <a:t>już</a:t>
            </a:r>
            <a:r>
              <a:rPr lang="en-GB" dirty="0">
                <a:effectLst/>
              </a:rPr>
              <a:t> </a:t>
            </a:r>
            <a:r>
              <a:rPr lang="en-GB" dirty="0" err="1">
                <a:effectLst/>
              </a:rPr>
              <a:t>na</a:t>
            </a:r>
            <a:r>
              <a:rPr lang="en-GB" dirty="0">
                <a:effectLst/>
              </a:rPr>
              <a:t> </a:t>
            </a:r>
            <a:r>
              <a:rPr lang="en-GB" dirty="0" err="1">
                <a:effectLst/>
              </a:rPr>
              <a:t>trasie</a:t>
            </a:r>
            <a:r>
              <a:rPr lang="en-GB" dirty="0">
                <a:effectLst/>
              </a:rPr>
              <a:t> </a:t>
            </a:r>
            <a:r>
              <a:rPr lang="en-GB" dirty="0" err="1">
                <a:effectLst/>
              </a:rPr>
              <a:t>pakietów</a:t>
            </a:r>
            <a:r>
              <a:rPr lang="en-GB" dirty="0">
                <a:effectLst/>
              </a:rPr>
              <a:t> (w </a:t>
            </a:r>
            <a:r>
              <a:rPr lang="en-GB" dirty="0" err="1">
                <a:effectLst/>
              </a:rPr>
              <a:t>obrębie</a:t>
            </a:r>
            <a:r>
              <a:rPr lang="en-GB" dirty="0">
                <a:effectLst/>
              </a:rPr>
              <a:t> </a:t>
            </a:r>
            <a:r>
              <a:rPr lang="en-GB" dirty="0" err="1">
                <a:effectLst/>
              </a:rPr>
              <a:t>przełącznika</a:t>
            </a:r>
            <a:r>
              <a:rPr lang="en-GB" dirty="0">
                <a:effectLst/>
              </a:rPr>
              <a:t> </a:t>
            </a:r>
            <a:r>
              <a:rPr lang="en-GB" dirty="0" err="1">
                <a:effectLst/>
              </a:rPr>
              <a:t>typu</a:t>
            </a:r>
            <a:r>
              <a:rPr lang="en-GB" dirty="0">
                <a:effectLst/>
              </a:rPr>
              <a:t> access/leaf), bez </a:t>
            </a:r>
            <a:r>
              <a:rPr lang="en-GB" dirty="0" err="1">
                <a:effectLst/>
              </a:rPr>
              <a:t>przekazywania</a:t>
            </a:r>
            <a:r>
              <a:rPr lang="en-GB" dirty="0">
                <a:effectLst/>
              </a:rPr>
              <a:t> do </a:t>
            </a:r>
            <a:r>
              <a:rPr lang="en-GB" dirty="0" err="1">
                <a:effectLst/>
              </a:rPr>
              <a:t>scentralizowanej</a:t>
            </a:r>
            <a:r>
              <a:rPr lang="en-GB" dirty="0">
                <a:effectLst/>
              </a:rPr>
              <a:t> </a:t>
            </a:r>
            <a:r>
              <a:rPr lang="en-GB" dirty="0" err="1">
                <a:effectLst/>
              </a:rPr>
              <a:t>zapory</a:t>
            </a:r>
            <a:r>
              <a:rPr lang="en-GB" dirty="0">
                <a:effectLst/>
              </a:rPr>
              <a:t> </a:t>
            </a:r>
            <a:r>
              <a:rPr lang="en-GB" dirty="0" err="1">
                <a:effectLst/>
              </a:rPr>
              <a:t>sieciowej</a:t>
            </a:r>
            <a:endParaRPr lang="en-GB" dirty="0">
              <a:effectLst/>
            </a:endParaRPr>
          </a:p>
          <a:p>
            <a:pPr marL="285750" indent="-285750">
              <a:buFont typeface="Wingdings" pitchFamily="2" charset="77"/>
              <a:buChar char="§"/>
            </a:pPr>
            <a:r>
              <a:rPr lang="en-GB" dirty="0" err="1"/>
              <a:t>Programowalne</a:t>
            </a:r>
            <a:r>
              <a:rPr lang="en-GB" dirty="0"/>
              <a:t>, </a:t>
            </a:r>
            <a:r>
              <a:rPr lang="en-GB" dirty="0" err="1"/>
              <a:t>dedykowane</a:t>
            </a:r>
            <a:r>
              <a:rPr lang="en-GB" dirty="0"/>
              <a:t> to </a:t>
            </a:r>
            <a:r>
              <a:rPr lang="en-GB" dirty="0" err="1"/>
              <a:t>tego</a:t>
            </a:r>
            <a:r>
              <a:rPr lang="en-GB" dirty="0"/>
              <a:t> </a:t>
            </a:r>
            <a:r>
              <a:rPr lang="en-GB" dirty="0" err="1"/>
              <a:t>celu</a:t>
            </a:r>
            <a:r>
              <a:rPr lang="en-GB" dirty="0"/>
              <a:t> DPU </a:t>
            </a:r>
            <a:r>
              <a:rPr lang="en-GB" dirty="0" err="1"/>
              <a:t>zapewniają</a:t>
            </a:r>
            <a:r>
              <a:rPr lang="en-GB" dirty="0"/>
              <a:t> </a:t>
            </a:r>
            <a:r>
              <a:rPr lang="en-GB" dirty="0" err="1"/>
              <a:t>filtrowanie</a:t>
            </a:r>
            <a:r>
              <a:rPr lang="en-GB" dirty="0"/>
              <a:t> </a:t>
            </a:r>
            <a:r>
              <a:rPr lang="en-GB" dirty="0" err="1"/>
              <a:t>ruchu</a:t>
            </a:r>
            <a:r>
              <a:rPr lang="en-GB" dirty="0"/>
              <a:t> </a:t>
            </a:r>
            <a:r>
              <a:rPr lang="en-GB" dirty="0" err="1"/>
              <a:t>zgodnie</a:t>
            </a:r>
            <a:r>
              <a:rPr lang="en-GB" dirty="0"/>
              <a:t> z </a:t>
            </a:r>
            <a:r>
              <a:rPr lang="en-GB" dirty="0" err="1"/>
              <a:t>zadanymi</a:t>
            </a:r>
            <a:r>
              <a:rPr lang="en-GB" dirty="0"/>
              <a:t> </a:t>
            </a:r>
            <a:r>
              <a:rPr lang="en-GB" dirty="0" err="1"/>
              <a:t>politykami</a:t>
            </a:r>
            <a:endParaRPr lang="en-GB" dirty="0">
              <a:effectLst/>
            </a:endParaRPr>
          </a:p>
          <a:p>
            <a:r>
              <a:rPr lang="en-GB" b="1" dirty="0">
                <a:effectLst/>
              </a:rPr>
              <a:t>Policy &amp; Services Manager(PSM)</a:t>
            </a:r>
            <a:endParaRPr lang="en-GB" dirty="0">
              <a:effectLst/>
            </a:endParaRPr>
          </a:p>
          <a:p>
            <a:pPr marL="285750" indent="-285750">
              <a:buFont typeface="Wingdings" pitchFamily="2" charset="77"/>
              <a:buChar char="§"/>
            </a:pPr>
            <a:r>
              <a:rPr lang="en-GB" dirty="0" err="1">
                <a:effectLst/>
              </a:rPr>
              <a:t>Zapewnia</a:t>
            </a:r>
            <a:r>
              <a:rPr lang="en-GB" dirty="0">
                <a:effectLst/>
              </a:rPr>
              <a:t> </a:t>
            </a:r>
            <a:r>
              <a:rPr lang="en-GB" dirty="0" err="1">
                <a:effectLst/>
              </a:rPr>
              <a:t>scentraliozwane</a:t>
            </a:r>
            <a:r>
              <a:rPr lang="en-GB" dirty="0">
                <a:effectLst/>
              </a:rPr>
              <a:t> </a:t>
            </a:r>
            <a:r>
              <a:rPr lang="en-GB" dirty="0" err="1">
                <a:effectLst/>
              </a:rPr>
              <a:t>zarządzanie</a:t>
            </a:r>
            <a:r>
              <a:rPr lang="en-GB" dirty="0">
                <a:effectLst/>
              </a:rPr>
              <a:t> </a:t>
            </a:r>
            <a:r>
              <a:rPr lang="en-GB" dirty="0" err="1">
                <a:effectLst/>
              </a:rPr>
              <a:t>politykami</a:t>
            </a:r>
            <a:r>
              <a:rPr lang="en-GB" dirty="0">
                <a:effectLst/>
              </a:rPr>
              <a:t> </a:t>
            </a:r>
            <a:r>
              <a:rPr lang="en-GB" dirty="0" err="1">
                <a:effectLst/>
              </a:rPr>
              <a:t>i</a:t>
            </a:r>
            <a:r>
              <a:rPr lang="en-GB" dirty="0">
                <a:effectLst/>
              </a:rPr>
              <a:t> </a:t>
            </a:r>
            <a:r>
              <a:rPr lang="en-GB" dirty="0" err="1">
                <a:effectLst/>
              </a:rPr>
              <a:t>usługami</a:t>
            </a:r>
            <a:endParaRPr lang="en-GB" dirty="0">
              <a:effectLst/>
            </a:endParaRPr>
          </a:p>
          <a:p>
            <a:pPr marL="285750" indent="-285750">
              <a:buFont typeface="Wingdings" pitchFamily="2" charset="77"/>
              <a:buChar char="§"/>
            </a:pPr>
            <a:r>
              <a:rPr lang="en-GB" dirty="0" err="1">
                <a:effectLst/>
              </a:rPr>
              <a:t>Dystrybuuje</a:t>
            </a:r>
            <a:r>
              <a:rPr lang="en-GB" dirty="0">
                <a:effectLst/>
              </a:rPr>
              <a:t> </a:t>
            </a:r>
            <a:r>
              <a:rPr lang="en-GB" dirty="0" err="1">
                <a:effectLst/>
              </a:rPr>
              <a:t>konfigurację</a:t>
            </a:r>
            <a:r>
              <a:rPr lang="en-GB" dirty="0">
                <a:effectLst/>
              </a:rPr>
              <a:t> do </a:t>
            </a:r>
            <a:r>
              <a:rPr lang="en-GB" dirty="0" err="1">
                <a:effectLst/>
              </a:rPr>
              <a:t>wszystkich</a:t>
            </a:r>
            <a:r>
              <a:rPr lang="en-GB" dirty="0">
                <a:effectLst/>
              </a:rPr>
              <a:t> </a:t>
            </a:r>
            <a:r>
              <a:rPr lang="en-GB" dirty="0" err="1">
                <a:effectLst/>
              </a:rPr>
              <a:t>przełączników</a:t>
            </a:r>
            <a:r>
              <a:rPr lang="en-GB" dirty="0">
                <a:effectLst/>
              </a:rPr>
              <a:t> CX 10K</a:t>
            </a:r>
          </a:p>
          <a:p>
            <a:pPr marL="285750" indent="-285750">
              <a:buFont typeface="Wingdings" pitchFamily="2" charset="77"/>
              <a:buChar char="§"/>
            </a:pPr>
            <a:r>
              <a:rPr lang="en-GB" dirty="0" err="1"/>
              <a:t>Zbiera</a:t>
            </a:r>
            <a:r>
              <a:rPr lang="en-GB" dirty="0"/>
              <a:t> </a:t>
            </a:r>
            <a:r>
              <a:rPr lang="en-GB" dirty="0" err="1"/>
              <a:t>wszelkie</a:t>
            </a:r>
            <a:r>
              <a:rPr lang="en-GB" dirty="0"/>
              <a:t> </a:t>
            </a:r>
            <a:r>
              <a:rPr lang="en-GB" dirty="0" err="1"/>
              <a:t>logi</a:t>
            </a:r>
            <a:r>
              <a:rPr lang="en-GB" dirty="0"/>
              <a:t> FW, </a:t>
            </a:r>
            <a:r>
              <a:rPr lang="en-GB" dirty="0" err="1"/>
              <a:t>alarmy</a:t>
            </a:r>
            <a:r>
              <a:rPr lang="en-GB" dirty="0"/>
              <a:t>, </a:t>
            </a:r>
            <a:r>
              <a:rPr lang="en-GB" dirty="0" err="1"/>
              <a:t>telemetrię</a:t>
            </a:r>
            <a:r>
              <a:rPr lang="en-GB" dirty="0"/>
              <a:t> I </a:t>
            </a:r>
            <a:r>
              <a:rPr lang="en-GB" dirty="0" err="1"/>
              <a:t>statystyki</a:t>
            </a:r>
            <a:endParaRPr lang="en-GB" dirty="0"/>
          </a:p>
          <a:p>
            <a:pPr marL="285750" indent="-285750">
              <a:buFont typeface="Wingdings" pitchFamily="2" charset="77"/>
              <a:buChar char="§"/>
            </a:pPr>
            <a:r>
              <a:rPr lang="en-GB" b="1" dirty="0" err="1">
                <a:effectLst/>
              </a:rPr>
              <a:t>Integruję</a:t>
            </a:r>
            <a:r>
              <a:rPr lang="en-GB" b="1" dirty="0">
                <a:effectLst/>
              </a:rPr>
              <a:t> </a:t>
            </a:r>
            <a:r>
              <a:rPr lang="en-GB" b="1" dirty="0" err="1">
                <a:effectLst/>
              </a:rPr>
              <a:t>się</a:t>
            </a:r>
            <a:r>
              <a:rPr lang="en-GB" b="1" dirty="0">
                <a:effectLst/>
              </a:rPr>
              <a:t> </a:t>
            </a:r>
            <a:br>
              <a:rPr lang="pl-PL" b="1" dirty="0">
                <a:effectLst/>
              </a:rPr>
            </a:br>
            <a:r>
              <a:rPr lang="en-GB" b="1" dirty="0">
                <a:effectLst/>
              </a:rPr>
              <a:t>z Aruba Fabric</a:t>
            </a:r>
            <a:r>
              <a:rPr lang="pl-PL" b="1" dirty="0">
                <a:effectLst/>
              </a:rPr>
              <a:t> </a:t>
            </a:r>
            <a:r>
              <a:rPr lang="en-GB" b="1" dirty="0">
                <a:effectLst/>
              </a:rPr>
              <a:t>Composer</a:t>
            </a:r>
          </a:p>
        </p:txBody>
      </p:sp>
      <p:sp>
        <p:nvSpPr>
          <p:cNvPr id="5" name="Slide Number Placeholder 1">
            <a:extLst>
              <a:ext uri="{FF2B5EF4-FFF2-40B4-BE49-F238E27FC236}">
                <a16:creationId xmlns:a16="http://schemas.microsoft.com/office/drawing/2014/main" id="{0A0B24B5-FFF4-B1E8-3D37-E97209BF491E}"/>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14</a:t>
            </a:fld>
            <a:endParaRPr lang="en-US" dirty="0"/>
          </a:p>
        </p:txBody>
      </p:sp>
    </p:spTree>
    <p:custDataLst>
      <p:tags r:id="rId1"/>
    </p:custDataLst>
    <p:extLst>
      <p:ext uri="{BB962C8B-B14F-4D97-AF65-F5344CB8AC3E}">
        <p14:creationId xmlns:p14="http://schemas.microsoft.com/office/powerpoint/2010/main" val="180026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B20D75-11FE-F84C-3C48-DF3AE22E99EE}"/>
              </a:ext>
            </a:extLst>
          </p:cNvPr>
          <p:cNvSpPr>
            <a:spLocks noGrp="1"/>
          </p:cNvSpPr>
          <p:nvPr>
            <p:ph type="title"/>
          </p:nvPr>
        </p:nvSpPr>
        <p:spPr/>
        <p:txBody>
          <a:bodyPr/>
          <a:lstStyle/>
          <a:p>
            <a:r>
              <a:rPr lang="en-US" dirty="0" err="1"/>
              <a:t>Obsługa</a:t>
            </a:r>
            <a:r>
              <a:rPr lang="en-US" dirty="0"/>
              <a:t> </a:t>
            </a:r>
            <a:r>
              <a:rPr lang="en-US" dirty="0" err="1"/>
              <a:t>zapory</a:t>
            </a:r>
            <a:r>
              <a:rPr lang="en-US" dirty="0"/>
              <a:t> </a:t>
            </a:r>
            <a:r>
              <a:rPr lang="en-US" dirty="0" err="1"/>
              <a:t>sieciowej</a:t>
            </a:r>
            <a:r>
              <a:rPr lang="en-US" dirty="0"/>
              <a:t> </a:t>
            </a:r>
            <a:r>
              <a:rPr lang="en-US" dirty="0" err="1"/>
              <a:t>statefull</a:t>
            </a:r>
            <a:r>
              <a:rPr lang="en-US" dirty="0"/>
              <a:t> </a:t>
            </a:r>
            <a:r>
              <a:rPr lang="en-US" dirty="0" err="1"/>
              <a:t>dla</a:t>
            </a:r>
            <a:r>
              <a:rPr lang="en-US" dirty="0"/>
              <a:t> </a:t>
            </a:r>
            <a:r>
              <a:rPr lang="en-US" dirty="0" err="1"/>
              <a:t>każdej</a:t>
            </a:r>
            <a:r>
              <a:rPr lang="en-US" dirty="0"/>
              <a:t> </a:t>
            </a:r>
            <a:r>
              <a:rPr lang="en-US" dirty="0" err="1"/>
              <a:t>architektury</a:t>
            </a:r>
            <a:r>
              <a:rPr lang="en-US" dirty="0"/>
              <a:t> </a:t>
            </a:r>
            <a:r>
              <a:rPr lang="en-US" dirty="0" err="1"/>
              <a:t>sieci</a:t>
            </a:r>
            <a:endParaRPr lang="en-PL" dirty="0"/>
          </a:p>
        </p:txBody>
      </p:sp>
      <p:graphicFrame>
        <p:nvGraphicFramePr>
          <p:cNvPr id="10" name="Content Placeholder 4">
            <a:extLst>
              <a:ext uri="{FF2B5EF4-FFF2-40B4-BE49-F238E27FC236}">
                <a16:creationId xmlns:a16="http://schemas.microsoft.com/office/drawing/2014/main" id="{7D7F8C74-322E-4E9E-9BA5-7C865A164EB9}"/>
              </a:ext>
            </a:extLst>
          </p:cNvPr>
          <p:cNvGraphicFramePr>
            <a:graphicFrameLocks noGrp="1"/>
          </p:cNvGraphicFramePr>
          <p:nvPr>
            <p:ph idx="4294967295"/>
            <p:extLst>
              <p:ext uri="{D42A27DB-BD31-4B8C-83A1-F6EECF244321}">
                <p14:modId xmlns:p14="http://schemas.microsoft.com/office/powerpoint/2010/main" val="3207657954"/>
              </p:ext>
            </p:extLst>
          </p:nvPr>
        </p:nvGraphicFramePr>
        <p:xfrm>
          <a:off x="0" y="998538"/>
          <a:ext cx="11406188" cy="5097462"/>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2">
            <a:extLst>
              <a:ext uri="{FF2B5EF4-FFF2-40B4-BE49-F238E27FC236}">
                <a16:creationId xmlns:a16="http://schemas.microsoft.com/office/drawing/2014/main" id="{AF45A775-E09E-5D89-DC87-5E0023B51D5D}"/>
              </a:ext>
            </a:extLst>
          </p:cNvPr>
          <p:cNvSpPr txBox="1">
            <a:spLocks/>
          </p:cNvSpPr>
          <p:nvPr/>
        </p:nvSpPr>
        <p:spPr>
          <a:xfrm>
            <a:off x="609441" y="519236"/>
            <a:ext cx="10969943" cy="5335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dirty="0"/>
          </a:p>
        </p:txBody>
      </p:sp>
      <p:pic>
        <p:nvPicPr>
          <p:cNvPr id="5" name="Picture 4" descr="A diagram of a data center&#10;&#10;Description automatically generated">
            <a:extLst>
              <a:ext uri="{FF2B5EF4-FFF2-40B4-BE49-F238E27FC236}">
                <a16:creationId xmlns:a16="http://schemas.microsoft.com/office/drawing/2014/main" id="{08F922E9-E40A-7F89-4F3D-09387F9FB2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0297" y="919993"/>
            <a:ext cx="11691406" cy="4787124"/>
          </a:xfrm>
          <a:prstGeom prst="rect">
            <a:avLst/>
          </a:prstGeom>
        </p:spPr>
      </p:pic>
      <p:sp>
        <p:nvSpPr>
          <p:cNvPr id="2" name="Slide Number Placeholder 1">
            <a:extLst>
              <a:ext uri="{FF2B5EF4-FFF2-40B4-BE49-F238E27FC236}">
                <a16:creationId xmlns:a16="http://schemas.microsoft.com/office/drawing/2014/main" id="{2829E059-6B2F-AB91-B3F1-A5F2CABDCA21}"/>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15</a:t>
            </a:fld>
            <a:endParaRPr lang="en-US" dirty="0"/>
          </a:p>
        </p:txBody>
      </p:sp>
    </p:spTree>
    <p:custDataLst>
      <p:tags r:id="rId1"/>
    </p:custDataLst>
    <p:extLst>
      <p:ext uri="{BB962C8B-B14F-4D97-AF65-F5344CB8AC3E}">
        <p14:creationId xmlns:p14="http://schemas.microsoft.com/office/powerpoint/2010/main" val="9321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391FF8-DC41-43D8-BE2F-A57B34C4FA9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1643760" y="688975"/>
            <a:ext cx="8904479" cy="5480050"/>
          </a:xfrm>
        </p:spPr>
        <p:txBody>
          <a:bodyPr/>
          <a:lstStyle/>
          <a:p>
            <a:r>
              <a:rPr lang="pl-PL" dirty="0"/>
              <a:t>Jak skutecznie zabezpieczyć dostęp do danych medycznych z wykorzystaniem rozwiązań zerowego zaufania?</a:t>
            </a:r>
            <a:endParaRPr lang="en-US" dirty="0"/>
          </a:p>
        </p:txBody>
      </p:sp>
      <p:sp>
        <p:nvSpPr>
          <p:cNvPr id="4" name="Element">
            <a:extLst>
              <a:ext uri="{FF2B5EF4-FFF2-40B4-BE49-F238E27FC236}">
                <a16:creationId xmlns:a16="http://schemas.microsoft.com/office/drawing/2014/main" id="{B4ECC0F1-8088-4BAC-B322-75D55D5633C9}"/>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Tree>
    <p:extLst>
      <p:ext uri="{BB962C8B-B14F-4D97-AF65-F5344CB8AC3E}">
        <p14:creationId xmlns:p14="http://schemas.microsoft.com/office/powerpoint/2010/main" val="133027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622C94C-AC39-3B19-6C12-F4094396BE09}"/>
              </a:ext>
            </a:extLst>
          </p:cNvPr>
          <p:cNvGrpSpPr/>
          <p:nvPr/>
        </p:nvGrpSpPr>
        <p:grpSpPr>
          <a:xfrm>
            <a:off x="803067" y="3510220"/>
            <a:ext cx="3327708" cy="2164941"/>
            <a:chOff x="351833" y="3714508"/>
            <a:chExt cx="3327708" cy="2164941"/>
          </a:xfrm>
        </p:grpSpPr>
        <p:sp>
          <p:nvSpPr>
            <p:cNvPr id="66" name="TextBox 65"/>
            <p:cNvSpPr txBox="1"/>
            <p:nvPr/>
          </p:nvSpPr>
          <p:spPr>
            <a:xfrm>
              <a:off x="351833" y="3714508"/>
              <a:ext cx="3327708" cy="1477328"/>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0" b="1" i="0" u="none" strike="noStrike" kern="120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MetricHPE"/>
                  <a:ea typeface="+mn-ea"/>
                  <a:cs typeface="+mn-cs"/>
                </a:rPr>
                <a:t>1.500%</a:t>
              </a:r>
            </a:p>
          </p:txBody>
        </p:sp>
        <p:sp>
          <p:nvSpPr>
            <p:cNvPr id="67" name="TextBox 66"/>
            <p:cNvSpPr txBox="1"/>
            <p:nvPr/>
          </p:nvSpPr>
          <p:spPr>
            <a:xfrm>
              <a:off x="753268" y="4762220"/>
              <a:ext cx="2524838" cy="1117229"/>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defRPr/>
              </a:pPr>
              <a:r>
                <a:rPr lang="pl-PL" dirty="0"/>
                <a:t>wzrost liczby ataków w ciągu ostatnich lat na rozwiązania VPN </a:t>
              </a:r>
              <a:endParaRPr lang="en-US" dirty="0"/>
            </a:p>
          </p:txBody>
        </p:sp>
      </p:grpSp>
      <p:sp>
        <p:nvSpPr>
          <p:cNvPr id="31" name="Title 1">
            <a:extLst>
              <a:ext uri="{FF2B5EF4-FFF2-40B4-BE49-F238E27FC236}">
                <a16:creationId xmlns:a16="http://schemas.microsoft.com/office/drawing/2014/main" id="{329C2199-2E82-FA48-AF99-2FB443D9918D}"/>
              </a:ext>
            </a:extLst>
          </p:cNvPr>
          <p:cNvSpPr txBox="1">
            <a:spLocks/>
          </p:cNvSpPr>
          <p:nvPr/>
        </p:nvSpPr>
        <p:spPr>
          <a:xfrm>
            <a:off x="411252" y="1709833"/>
            <a:ext cx="5573909" cy="868363"/>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pl-PL" sz="3600" b="1" cap="none" dirty="0">
                <a:solidFill>
                  <a:schemeClr val="tx1"/>
                </a:solidFill>
                <a:latin typeface="MetricHPE"/>
              </a:rPr>
              <a:t>Przyjaciel czy adwersarz</a:t>
            </a:r>
            <a:r>
              <a:rPr kumimoji="0" lang="en-US" sz="3600" b="1" i="0" u="none" strike="noStrike" kern="1200" cap="none" spc="0" normalizeH="0" baseline="0" noProof="0" dirty="0">
                <a:ln>
                  <a:noFill/>
                </a:ln>
                <a:solidFill>
                  <a:schemeClr val="tx1"/>
                </a:solidFill>
                <a:effectLst/>
                <a:uLnTx/>
                <a:uFillTx/>
                <a:latin typeface="MetricHPE"/>
                <a:ea typeface="+mj-ea"/>
                <a:cs typeface="+mj-cs"/>
              </a:rPr>
              <a:t>?</a:t>
            </a:r>
          </a:p>
        </p:txBody>
      </p:sp>
      <p:sp>
        <p:nvSpPr>
          <p:cNvPr id="5" name="Rectangle 4">
            <a:extLst>
              <a:ext uri="{FF2B5EF4-FFF2-40B4-BE49-F238E27FC236}">
                <a16:creationId xmlns:a16="http://schemas.microsoft.com/office/drawing/2014/main" id="{00743254-DD23-4B55-9841-1F177C087EE2}"/>
              </a:ext>
            </a:extLst>
          </p:cNvPr>
          <p:cNvSpPr/>
          <p:nvPr/>
        </p:nvSpPr>
        <p:spPr>
          <a:xfrm>
            <a:off x="411253" y="636186"/>
            <a:ext cx="2286203"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0" b="1" dirty="0">
                <a:blipFill dpi="0" rotWithShape="1">
                  <a:blip r:embed="rId3">
                    <a:extLst>
                      <a:ext uri="{28A0092B-C50C-407E-A947-70E740481C1C}">
                        <a14:useLocalDpi xmlns:a14="http://schemas.microsoft.com/office/drawing/2010/main" val="0"/>
                      </a:ext>
                    </a:extLst>
                  </a:blip>
                  <a:srcRect/>
                  <a:stretch>
                    <a:fillRect/>
                  </a:stretch>
                </a:blipFill>
                <a:latin typeface="MetricHPE"/>
              </a:rPr>
              <a:t>VPN:</a:t>
            </a:r>
          </a:p>
        </p:txBody>
      </p:sp>
      <p:sp>
        <p:nvSpPr>
          <p:cNvPr id="15" name="Slide Number Placeholder 14">
            <a:extLst>
              <a:ext uri="{FF2B5EF4-FFF2-40B4-BE49-F238E27FC236}">
                <a16:creationId xmlns:a16="http://schemas.microsoft.com/office/drawing/2014/main" id="{6055B4B3-02BC-F669-5CFE-693EBFF6288A}"/>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17</a:t>
            </a:fld>
            <a:endParaRPr kumimoji="0" lang="en-US" sz="2000" b="0" i="0" u="none" strike="noStrike" kern="1200" cap="all" spc="0" normalizeH="0" baseline="10000" noProof="0" dirty="0">
              <a:ln>
                <a:noFill/>
              </a:ln>
              <a:effectLst/>
              <a:uLnTx/>
              <a:uFillTx/>
              <a:latin typeface="MetricHPE"/>
              <a:ea typeface="+mn-ea"/>
              <a:cs typeface="+mn-cs"/>
            </a:endParaRPr>
          </a:p>
        </p:txBody>
      </p:sp>
      <p:sp>
        <p:nvSpPr>
          <p:cNvPr id="2" name="TextBox 1">
            <a:extLst>
              <a:ext uri="{FF2B5EF4-FFF2-40B4-BE49-F238E27FC236}">
                <a16:creationId xmlns:a16="http://schemas.microsoft.com/office/drawing/2014/main" id="{BA6D26E0-CE63-E81A-ECCA-AA7A8E9A3AB7}"/>
              </a:ext>
            </a:extLst>
          </p:cNvPr>
          <p:cNvSpPr txBox="1"/>
          <p:nvPr/>
        </p:nvSpPr>
        <p:spPr>
          <a:xfrm>
            <a:off x="1071914" y="6044433"/>
            <a:ext cx="2524838" cy="514756"/>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000" b="0" i="1" u="none" strike="noStrike" kern="1200" cap="none" spc="0" normalizeH="0" baseline="0" noProof="0" dirty="0">
                <a:ln>
                  <a:noFill/>
                </a:ln>
                <a:effectLst/>
                <a:uLnTx/>
                <a:uFillTx/>
                <a:latin typeface="MetricHPE"/>
                <a:ea typeface="+mn-ea"/>
                <a:cs typeface="+mn-cs"/>
              </a:rPr>
              <a:t>2021 Q1 Threat Landscape Report</a:t>
            </a:r>
          </a:p>
        </p:txBody>
      </p:sp>
      <p:cxnSp>
        <p:nvCxnSpPr>
          <p:cNvPr id="9" name="Straight Arrow Connector 8">
            <a:extLst>
              <a:ext uri="{FF2B5EF4-FFF2-40B4-BE49-F238E27FC236}">
                <a16:creationId xmlns:a16="http://schemas.microsoft.com/office/drawing/2014/main" id="{05161AA7-E0A4-9FF9-8E46-7952E634D472}"/>
              </a:ext>
            </a:extLst>
          </p:cNvPr>
          <p:cNvCxnSpPr>
            <a:cxnSpLocks/>
          </p:cNvCxnSpPr>
          <p:nvPr/>
        </p:nvCxnSpPr>
        <p:spPr>
          <a:xfrm flipV="1">
            <a:off x="595552" y="3484329"/>
            <a:ext cx="0" cy="527425"/>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921A47B-9006-223E-0C49-8B3B7B1E71F3}"/>
              </a:ext>
            </a:extLst>
          </p:cNvPr>
          <p:cNvGrpSpPr/>
          <p:nvPr/>
        </p:nvGrpSpPr>
        <p:grpSpPr>
          <a:xfrm>
            <a:off x="5216311" y="3510220"/>
            <a:ext cx="2747427" cy="2466100"/>
            <a:chOff x="2982903" y="3773448"/>
            <a:chExt cx="2747427" cy="2466100"/>
          </a:xfrm>
        </p:grpSpPr>
        <p:sp>
          <p:nvSpPr>
            <p:cNvPr id="6" name="TextBox 5">
              <a:extLst>
                <a:ext uri="{FF2B5EF4-FFF2-40B4-BE49-F238E27FC236}">
                  <a16:creationId xmlns:a16="http://schemas.microsoft.com/office/drawing/2014/main" id="{7E9FB48C-8E27-8528-86CD-E289C1D18381}"/>
                </a:ext>
              </a:extLst>
            </p:cNvPr>
            <p:cNvSpPr txBox="1"/>
            <p:nvPr/>
          </p:nvSpPr>
          <p:spPr>
            <a:xfrm>
              <a:off x="3190417" y="3773448"/>
              <a:ext cx="2332398" cy="1477328"/>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en-US" sz="8000" b="1" dirty="0">
                  <a:blipFill dpi="0" rotWithShape="1">
                    <a:blip r:embed="rId3">
                      <a:extLst>
                        <a:ext uri="{28A0092B-C50C-407E-A947-70E740481C1C}">
                          <a14:useLocalDpi xmlns:a14="http://schemas.microsoft.com/office/drawing/2010/main" val="0"/>
                        </a:ext>
                      </a:extLst>
                    </a:blip>
                    <a:srcRect/>
                    <a:stretch>
                      <a:fillRect/>
                    </a:stretch>
                  </a:blipFill>
                  <a:latin typeface="MetricHPE"/>
                </a:rPr>
                <a:t>92%</a:t>
              </a:r>
            </a:p>
          </p:txBody>
        </p:sp>
        <p:sp>
          <p:nvSpPr>
            <p:cNvPr id="10" name="TextBox 9">
              <a:extLst>
                <a:ext uri="{FF2B5EF4-FFF2-40B4-BE49-F238E27FC236}">
                  <a16:creationId xmlns:a16="http://schemas.microsoft.com/office/drawing/2014/main" id="{00E04F8A-4963-C793-CAF6-D590420A93E8}"/>
                </a:ext>
              </a:extLst>
            </p:cNvPr>
            <p:cNvSpPr txBox="1"/>
            <p:nvPr/>
          </p:nvSpPr>
          <p:spPr>
            <a:xfrm>
              <a:off x="2982903" y="4762220"/>
              <a:ext cx="2747427" cy="1477328"/>
            </a:xfrm>
            <a:prstGeom prst="rect">
              <a:avLst/>
            </a:prstGeom>
            <a:noFill/>
            <a:ln w="57150">
              <a:noFill/>
              <a:miter lim="800000"/>
            </a:ln>
          </p:spPr>
          <p:txBody>
            <a:bodyPr wrap="square" lIns="182880" tIns="182880" rIns="182880" bIns="182880" rtlCol="0">
              <a:spAutoFit/>
            </a:bodyPr>
            <a:lstStyle/>
            <a:p>
              <a:pPr algn="ctr"/>
              <a:r>
                <a:rPr lang="pl-PL" dirty="0"/>
                <a:t>obawia się, że VPN będzie stanowił zagrożenie dla zdolności zabezpieczenia firmowego środowiska</a:t>
              </a:r>
              <a:endParaRPr lang="en-US" dirty="0"/>
            </a:p>
          </p:txBody>
        </p:sp>
      </p:grpSp>
      <p:grpSp>
        <p:nvGrpSpPr>
          <p:cNvPr id="13" name="Group 12">
            <a:extLst>
              <a:ext uri="{FF2B5EF4-FFF2-40B4-BE49-F238E27FC236}">
                <a16:creationId xmlns:a16="http://schemas.microsoft.com/office/drawing/2014/main" id="{E143E692-7691-166D-2E0C-2B8A5B87FA08}"/>
              </a:ext>
            </a:extLst>
          </p:cNvPr>
          <p:cNvGrpSpPr/>
          <p:nvPr/>
        </p:nvGrpSpPr>
        <p:grpSpPr>
          <a:xfrm>
            <a:off x="8654924" y="3533030"/>
            <a:ext cx="2941524" cy="2512565"/>
            <a:chOff x="5507491" y="3726983"/>
            <a:chExt cx="2296456" cy="2512565"/>
          </a:xfrm>
        </p:grpSpPr>
        <p:sp>
          <p:nvSpPr>
            <p:cNvPr id="14" name="TextBox 13">
              <a:extLst>
                <a:ext uri="{FF2B5EF4-FFF2-40B4-BE49-F238E27FC236}">
                  <a16:creationId xmlns:a16="http://schemas.microsoft.com/office/drawing/2014/main" id="{DF56A694-3F44-443B-9BB2-C3339387A03F}"/>
                </a:ext>
              </a:extLst>
            </p:cNvPr>
            <p:cNvSpPr txBox="1"/>
            <p:nvPr/>
          </p:nvSpPr>
          <p:spPr>
            <a:xfrm>
              <a:off x="5507491" y="3726983"/>
              <a:ext cx="2296456" cy="1477328"/>
            </a:xfrm>
            <a:prstGeom prst="rect">
              <a:avLst/>
            </a:prstGeom>
            <a:noFill/>
            <a:ln w="57150">
              <a:noFill/>
              <a:miter lim="800000"/>
            </a:ln>
          </p:spPr>
          <p:txBody>
            <a:bodyPr wrap="square" lIns="182880" tIns="182880" rIns="182880" bIns="182880" rtlCol="0">
              <a:spAutoFit/>
            </a:bodyPr>
            <a:lstStyle/>
            <a:p>
              <a:pPr algn="ctr">
                <a:lnSpc>
                  <a:spcPct val="90000"/>
                </a:lnSpc>
                <a:spcBef>
                  <a:spcPts val="400"/>
                </a:spcBef>
                <a:defRPr/>
              </a:pPr>
              <a:r>
                <a:rPr lang="en-US" sz="8000" b="1" dirty="0">
                  <a:blipFill dpi="0" rotWithShape="1">
                    <a:blip r:embed="rId3">
                      <a:extLst>
                        <a:ext uri="{28A0092B-C50C-407E-A947-70E740481C1C}">
                          <a14:useLocalDpi xmlns:a14="http://schemas.microsoft.com/office/drawing/2010/main" val="0"/>
                        </a:ext>
                      </a:extLst>
                    </a:blip>
                    <a:srcRect/>
                    <a:stretch>
                      <a:fillRect/>
                    </a:stretch>
                  </a:blipFill>
                  <a:latin typeface="MetricHPE"/>
                </a:rPr>
                <a:t>75%</a:t>
              </a:r>
            </a:p>
          </p:txBody>
        </p:sp>
        <p:sp>
          <p:nvSpPr>
            <p:cNvPr id="16" name="TextBox 15">
              <a:extLst>
                <a:ext uri="{FF2B5EF4-FFF2-40B4-BE49-F238E27FC236}">
                  <a16:creationId xmlns:a16="http://schemas.microsoft.com/office/drawing/2014/main" id="{6ACFE5AF-7831-6A82-8B93-A07B696F2A33}"/>
                </a:ext>
              </a:extLst>
            </p:cNvPr>
            <p:cNvSpPr txBox="1"/>
            <p:nvPr/>
          </p:nvSpPr>
          <p:spPr>
            <a:xfrm>
              <a:off x="5507491" y="4762220"/>
              <a:ext cx="2277001" cy="1477328"/>
            </a:xfrm>
            <a:prstGeom prst="rect">
              <a:avLst/>
            </a:prstGeom>
            <a:noFill/>
            <a:ln w="57150">
              <a:noFill/>
              <a:miter lim="800000"/>
            </a:ln>
          </p:spPr>
          <p:txBody>
            <a:bodyPr wrap="square" lIns="182880" tIns="182880" rIns="182880" bIns="182880" rtlCol="0">
              <a:spAutoFit/>
            </a:bodyPr>
            <a:lstStyle/>
            <a:p>
              <a:pPr algn="ctr"/>
              <a:r>
                <a:rPr lang="pl-PL" dirty="0"/>
                <a:t>jest przekonanych, że wdrożenie rowiązania zerowego zaufania </a:t>
              </a:r>
              <a:br>
                <a:rPr lang="pl-PL" dirty="0"/>
              </a:br>
              <a:r>
                <a:rPr lang="pl-PL" dirty="0"/>
                <a:t>jest priorytetem</a:t>
              </a:r>
              <a:endParaRPr lang="en-US" dirty="0"/>
            </a:p>
          </p:txBody>
        </p:sp>
      </p:grpSp>
      <p:sp>
        <p:nvSpPr>
          <p:cNvPr id="17" name="TextBox 16">
            <a:extLst>
              <a:ext uri="{FF2B5EF4-FFF2-40B4-BE49-F238E27FC236}">
                <a16:creationId xmlns:a16="http://schemas.microsoft.com/office/drawing/2014/main" id="{1B581EFD-9B85-ACB2-AF03-D06C88CF219A}"/>
              </a:ext>
            </a:extLst>
          </p:cNvPr>
          <p:cNvSpPr txBox="1"/>
          <p:nvPr/>
        </p:nvSpPr>
        <p:spPr>
          <a:xfrm>
            <a:off x="5216311" y="5991784"/>
            <a:ext cx="2747427" cy="514756"/>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000" b="0" i="1" u="none" strike="noStrike" kern="1200" cap="none" spc="0" normalizeH="0" baseline="0" noProof="0" dirty="0">
                <a:ln>
                  <a:noFill/>
                </a:ln>
                <a:effectLst/>
                <a:uLnTx/>
                <a:uFillTx/>
                <a:latin typeface="MetricHPE"/>
                <a:ea typeface="+mn-ea"/>
                <a:cs typeface="+mn-cs"/>
              </a:rPr>
              <a:t>2024 VPN Risk Report</a:t>
            </a:r>
          </a:p>
        </p:txBody>
      </p:sp>
      <p:sp>
        <p:nvSpPr>
          <p:cNvPr id="18" name="TextBox 17">
            <a:extLst>
              <a:ext uri="{FF2B5EF4-FFF2-40B4-BE49-F238E27FC236}">
                <a16:creationId xmlns:a16="http://schemas.microsoft.com/office/drawing/2014/main" id="{964C7A31-D8C8-E00C-DCE9-4A9DB5F99970}"/>
              </a:ext>
            </a:extLst>
          </p:cNvPr>
          <p:cNvSpPr txBox="1"/>
          <p:nvPr/>
        </p:nvSpPr>
        <p:spPr>
          <a:xfrm>
            <a:off x="8886445" y="5991784"/>
            <a:ext cx="2747427" cy="514756"/>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000" b="0" i="1" u="none" strike="noStrike" kern="1200" cap="none" spc="0" normalizeH="0" baseline="0" noProof="0" dirty="0">
                <a:ln>
                  <a:noFill/>
                </a:ln>
                <a:effectLst/>
                <a:uLnTx/>
                <a:uFillTx/>
                <a:latin typeface="MetricHPE"/>
                <a:ea typeface="+mn-ea"/>
                <a:cs typeface="+mn-cs"/>
              </a:rPr>
              <a:t>2024 VPN Risk Report</a:t>
            </a:r>
          </a:p>
        </p:txBody>
      </p:sp>
      <p:pic>
        <p:nvPicPr>
          <p:cNvPr id="19" name="Picture 18">
            <a:extLst>
              <a:ext uri="{FF2B5EF4-FFF2-40B4-BE49-F238E27FC236}">
                <a16:creationId xmlns:a16="http://schemas.microsoft.com/office/drawing/2014/main" id="{8A31F72D-2BDB-6801-88CB-D9188068E2C9}"/>
              </a:ext>
            </a:extLst>
          </p:cNvPr>
          <p:cNvPicPr>
            <a:picLocks noChangeAspect="1"/>
          </p:cNvPicPr>
          <p:nvPr/>
        </p:nvPicPr>
        <p:blipFill>
          <a:blip r:embed="rId5"/>
          <a:stretch>
            <a:fillRect/>
          </a:stretch>
        </p:blipFill>
        <p:spPr>
          <a:xfrm>
            <a:off x="9355350" y="463281"/>
            <a:ext cx="1871715" cy="2405765"/>
          </a:xfrm>
          <a:prstGeom prst="rect">
            <a:avLst/>
          </a:prstGeom>
          <a:ln>
            <a:solidFill>
              <a:schemeClr val="tx1"/>
            </a:solidFill>
          </a:ln>
        </p:spPr>
      </p:pic>
    </p:spTree>
    <p:extLst>
      <p:ext uri="{BB962C8B-B14F-4D97-AF65-F5344CB8AC3E}">
        <p14:creationId xmlns:p14="http://schemas.microsoft.com/office/powerpoint/2010/main" val="6842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DD21DE32-DA12-36B2-916B-7A2C8AB4ECAF}"/>
              </a:ext>
            </a:extLst>
          </p:cNvPr>
          <p:cNvSpPr/>
          <p:nvPr/>
        </p:nvSpPr>
        <p:spPr bwMode="ltGray">
          <a:xfrm>
            <a:off x="3769845" y="2998523"/>
            <a:ext cx="2570892" cy="3231254"/>
          </a:xfrm>
          <a:custGeom>
            <a:avLst/>
            <a:gdLst>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9446 w 4671148"/>
              <a:gd name="connsiteY4" fmla="*/ 3915048 h 4671148"/>
              <a:gd name="connsiteX5" fmla="*/ 2312951 w 4671148"/>
              <a:gd name="connsiteY5" fmla="*/ 3915048 h 4671148"/>
              <a:gd name="connsiteX6" fmla="*/ 2306993 w 4671148"/>
              <a:gd name="connsiteY6" fmla="*/ 3925638 h 4671148"/>
              <a:gd name="connsiteX7" fmla="*/ 2177176 w 4671148"/>
              <a:gd name="connsiteY7" fmla="*/ 3919083 h 4671148"/>
              <a:gd name="connsiteX8" fmla="*/ 3770754 w 4671148"/>
              <a:gd name="connsiteY8" fmla="*/ 1668482 h 4671148"/>
              <a:gd name="connsiteX9" fmla="*/ 3779224 w 4671148"/>
              <a:gd name="connsiteY9" fmla="*/ 1668782 h 4671148"/>
              <a:gd name="connsiteX10" fmla="*/ 3802013 w 4671148"/>
              <a:gd name="connsiteY10" fmla="*/ 1716088 h 4671148"/>
              <a:gd name="connsiteX11" fmla="*/ 3818147 w 4671148"/>
              <a:gd name="connsiteY11" fmla="*/ 1760170 h 4671148"/>
              <a:gd name="connsiteX12" fmla="*/ 911753 w 4671148"/>
              <a:gd name="connsiteY12" fmla="*/ 1627620 h 4671148"/>
              <a:gd name="connsiteX13" fmla="*/ 916978 w 4671148"/>
              <a:gd name="connsiteY13" fmla="*/ 1636134 h 4671148"/>
              <a:gd name="connsiteX14" fmla="*/ 862742 w 4671148"/>
              <a:gd name="connsiteY14" fmla="*/ 1733555 h 4671148"/>
              <a:gd name="connsiteX15" fmla="*/ 869136 w 4671148"/>
              <a:gd name="connsiteY15" fmla="*/ 1716088 h 4671148"/>
              <a:gd name="connsiteX16" fmla="*/ 4496534 w 4671148"/>
              <a:gd name="connsiteY16" fmla="*/ 1450853 h 4671148"/>
              <a:gd name="connsiteX17" fmla="*/ 4566145 w 4671148"/>
              <a:gd name="connsiteY17" fmla="*/ 1641046 h 4671148"/>
              <a:gd name="connsiteX18" fmla="*/ 4671148 w 4671148"/>
              <a:gd name="connsiteY18" fmla="*/ 2335574 h 4671148"/>
              <a:gd name="connsiteX19" fmla="*/ 2335574 w 4671148"/>
              <a:gd name="connsiteY19" fmla="*/ 4671148 h 4671148"/>
              <a:gd name="connsiteX20" fmla="*/ 2312290 w 4671148"/>
              <a:gd name="connsiteY20" fmla="*/ 4669972 h 4671148"/>
              <a:gd name="connsiteX21" fmla="*/ 2100256 w 4671148"/>
              <a:gd name="connsiteY21" fmla="*/ 4293098 h 4671148"/>
              <a:gd name="connsiteX22" fmla="*/ 2306993 w 4671148"/>
              <a:gd name="connsiteY22" fmla="*/ 3925638 h 4671148"/>
              <a:gd name="connsiteX23" fmla="*/ 2335574 w 4671148"/>
              <a:gd name="connsiteY23" fmla="*/ 3927081 h 4671148"/>
              <a:gd name="connsiteX24" fmla="*/ 3927081 w 4671148"/>
              <a:gd name="connsiteY24" fmla="*/ 2335574 h 4671148"/>
              <a:gd name="connsiteX25" fmla="*/ 3855530 w 4671148"/>
              <a:gd name="connsiteY25" fmla="*/ 1862309 h 4671148"/>
              <a:gd name="connsiteX26" fmla="*/ 3818147 w 4671148"/>
              <a:gd name="connsiteY26" fmla="*/ 1760170 h 4671148"/>
              <a:gd name="connsiteX27" fmla="*/ 3832057 w 4671148"/>
              <a:gd name="connsiteY27" fmla="*/ 1787080 h 4671148"/>
              <a:gd name="connsiteX28" fmla="*/ 4265560 w 4671148"/>
              <a:gd name="connsiteY28" fmla="*/ 1802433 h 4671148"/>
              <a:gd name="connsiteX29" fmla="*/ 625183 w 4671148"/>
              <a:gd name="connsiteY29" fmla="*/ 1383056 h 4671148"/>
              <a:gd name="connsiteX30" fmla="*/ 852039 w 4671148"/>
              <a:gd name="connsiteY30" fmla="*/ 1752782 h 4671148"/>
              <a:gd name="connsiteX31" fmla="*/ 862742 w 4671148"/>
              <a:gd name="connsiteY31" fmla="*/ 1733555 h 4671148"/>
              <a:gd name="connsiteX32" fmla="*/ 815618 w 4671148"/>
              <a:gd name="connsiteY32" fmla="*/ 1862309 h 4671148"/>
              <a:gd name="connsiteX33" fmla="*/ 744067 w 4671148"/>
              <a:gd name="connsiteY33" fmla="*/ 2335574 h 4671148"/>
              <a:gd name="connsiteX34" fmla="*/ 2172852 w 4671148"/>
              <a:gd name="connsiteY34" fmla="*/ 3918864 h 4671148"/>
              <a:gd name="connsiteX35" fmla="*/ 2177176 w 4671148"/>
              <a:gd name="connsiteY35" fmla="*/ 3919083 h 4671148"/>
              <a:gd name="connsiteX36" fmla="*/ 1966751 w 4671148"/>
              <a:gd name="connsiteY36" fmla="*/ 4293098 h 4671148"/>
              <a:gd name="connsiteX37" fmla="*/ 2174881 w 4671148"/>
              <a:gd name="connsiteY37" fmla="*/ 4663034 h 4671148"/>
              <a:gd name="connsiteX38" fmla="*/ 2096775 w 4671148"/>
              <a:gd name="connsiteY38" fmla="*/ 4659090 h 4671148"/>
              <a:gd name="connsiteX39" fmla="*/ 0 w 4671148"/>
              <a:gd name="connsiteY39" fmla="*/ 2335574 h 4671148"/>
              <a:gd name="connsiteX40" fmla="*/ 183541 w 4671148"/>
              <a:gd name="connsiteY40" fmla="*/ 1426463 h 4671148"/>
              <a:gd name="connsiteX41" fmla="*/ 203538 w 4671148"/>
              <a:gd name="connsiteY41" fmla="*/ 1384952 h 4671148"/>
              <a:gd name="connsiteX42" fmla="*/ 4442430 w 4671148"/>
              <a:gd name="connsiteY42" fmla="*/ 1321296 h 4671148"/>
              <a:gd name="connsiteX43" fmla="*/ 4503733 w 4671148"/>
              <a:gd name="connsiteY43" fmla="*/ 1439894 h 4671148"/>
              <a:gd name="connsiteX44" fmla="*/ 4496534 w 4671148"/>
              <a:gd name="connsiteY44" fmla="*/ 1450853 h 4671148"/>
              <a:gd name="connsiteX45" fmla="*/ 4487607 w 4671148"/>
              <a:gd name="connsiteY45" fmla="*/ 1426463 h 4671148"/>
              <a:gd name="connsiteX46" fmla="*/ 4439266 w 4671148"/>
              <a:gd name="connsiteY46" fmla="*/ 1326113 h 4671148"/>
              <a:gd name="connsiteX47" fmla="*/ 259711 w 4671148"/>
              <a:gd name="connsiteY47" fmla="*/ 1268344 h 4671148"/>
              <a:gd name="connsiteX48" fmla="*/ 203538 w 4671148"/>
              <a:gd name="connsiteY48" fmla="*/ 1384952 h 4671148"/>
              <a:gd name="connsiteX49" fmla="*/ 191412 w 4671148"/>
              <a:gd name="connsiteY49" fmla="*/ 1385006 h 4671148"/>
              <a:gd name="connsiteX50" fmla="*/ 256350 w 4671148"/>
              <a:gd name="connsiteY50" fmla="*/ 1268359 h 4671148"/>
              <a:gd name="connsiteX51" fmla="*/ 2335574 w 4671148"/>
              <a:gd name="connsiteY51" fmla="*/ 0 h 4671148"/>
              <a:gd name="connsiteX52" fmla="*/ 4389257 w 4671148"/>
              <a:gd name="connsiteY52" fmla="*/ 1222301 h 4671148"/>
              <a:gd name="connsiteX53" fmla="*/ 4439266 w 4671148"/>
              <a:gd name="connsiteY53" fmla="*/ 1326113 h 4671148"/>
              <a:gd name="connsiteX54" fmla="*/ 4204258 w 4671148"/>
              <a:gd name="connsiteY54" fmla="*/ 1683835 h 4671148"/>
              <a:gd name="connsiteX55" fmla="*/ 3779224 w 4671148"/>
              <a:gd name="connsiteY55" fmla="*/ 1668782 h 4671148"/>
              <a:gd name="connsiteX56" fmla="*/ 3734995 w 4671148"/>
              <a:gd name="connsiteY56" fmla="*/ 1576967 h 4671148"/>
              <a:gd name="connsiteX57" fmla="*/ 2335574 w 4671148"/>
              <a:gd name="connsiteY57" fmla="*/ 744067 h 4671148"/>
              <a:gd name="connsiteX58" fmla="*/ 936154 w 4671148"/>
              <a:gd name="connsiteY58" fmla="*/ 1576967 h 4671148"/>
              <a:gd name="connsiteX59" fmla="*/ 911753 w 4671148"/>
              <a:gd name="connsiteY59" fmla="*/ 1627620 h 4671148"/>
              <a:gd name="connsiteX60" fmla="*/ 690121 w 4671148"/>
              <a:gd name="connsiteY60" fmla="*/ 1266408 h 4671148"/>
              <a:gd name="connsiteX61" fmla="*/ 259711 w 4671148"/>
              <a:gd name="connsiteY61" fmla="*/ 1268344 h 4671148"/>
              <a:gd name="connsiteX62" fmla="*/ 281891 w 4671148"/>
              <a:gd name="connsiteY62" fmla="*/ 1222301 h 4671148"/>
              <a:gd name="connsiteX63" fmla="*/ 2335574 w 4671148"/>
              <a:gd name="connsiteY63" fmla="*/ 0 h 4671148"/>
              <a:gd name="connsiteX0" fmla="*/ 2174881 w 4671148"/>
              <a:gd name="connsiteY0" fmla="*/ 4663459 h 4671573"/>
              <a:gd name="connsiteX1" fmla="*/ 2312290 w 4671148"/>
              <a:gd name="connsiteY1" fmla="*/ 4670397 h 4671573"/>
              <a:gd name="connsiteX2" fmla="*/ 2312951 w 4671148"/>
              <a:gd name="connsiteY2" fmla="*/ 4671573 h 4671573"/>
              <a:gd name="connsiteX3" fmla="*/ 2179446 w 4671148"/>
              <a:gd name="connsiteY3" fmla="*/ 4671573 h 4671573"/>
              <a:gd name="connsiteX4" fmla="*/ 2174881 w 4671148"/>
              <a:gd name="connsiteY4" fmla="*/ 4663459 h 4671573"/>
              <a:gd name="connsiteX5" fmla="*/ 2179446 w 4671148"/>
              <a:gd name="connsiteY5" fmla="*/ 3915473 h 4671573"/>
              <a:gd name="connsiteX6" fmla="*/ 2312951 w 4671148"/>
              <a:gd name="connsiteY6" fmla="*/ 3915473 h 4671573"/>
              <a:gd name="connsiteX7" fmla="*/ 2306993 w 4671148"/>
              <a:gd name="connsiteY7" fmla="*/ 3926063 h 4671573"/>
              <a:gd name="connsiteX8" fmla="*/ 2177176 w 4671148"/>
              <a:gd name="connsiteY8" fmla="*/ 3919508 h 4671573"/>
              <a:gd name="connsiteX9" fmla="*/ 2179446 w 4671148"/>
              <a:gd name="connsiteY9" fmla="*/ 3915473 h 4671573"/>
              <a:gd name="connsiteX10" fmla="*/ 3770754 w 4671148"/>
              <a:gd name="connsiteY10" fmla="*/ 1668907 h 4671573"/>
              <a:gd name="connsiteX11" fmla="*/ 3779224 w 4671148"/>
              <a:gd name="connsiteY11" fmla="*/ 1669207 h 4671573"/>
              <a:gd name="connsiteX12" fmla="*/ 3802013 w 4671148"/>
              <a:gd name="connsiteY12" fmla="*/ 1716513 h 4671573"/>
              <a:gd name="connsiteX13" fmla="*/ 3818147 w 4671148"/>
              <a:gd name="connsiteY13" fmla="*/ 1760595 h 4671573"/>
              <a:gd name="connsiteX14" fmla="*/ 3770754 w 4671148"/>
              <a:gd name="connsiteY14" fmla="*/ 1668907 h 4671573"/>
              <a:gd name="connsiteX15" fmla="*/ 911753 w 4671148"/>
              <a:gd name="connsiteY15" fmla="*/ 1628045 h 4671573"/>
              <a:gd name="connsiteX16" fmla="*/ 916978 w 4671148"/>
              <a:gd name="connsiteY16" fmla="*/ 1636559 h 4671573"/>
              <a:gd name="connsiteX17" fmla="*/ 862742 w 4671148"/>
              <a:gd name="connsiteY17" fmla="*/ 1733980 h 4671573"/>
              <a:gd name="connsiteX18" fmla="*/ 869136 w 4671148"/>
              <a:gd name="connsiteY18" fmla="*/ 1716513 h 4671573"/>
              <a:gd name="connsiteX19" fmla="*/ 911753 w 4671148"/>
              <a:gd name="connsiteY19" fmla="*/ 1628045 h 4671573"/>
              <a:gd name="connsiteX20" fmla="*/ 4496534 w 4671148"/>
              <a:gd name="connsiteY20" fmla="*/ 1451278 h 4671573"/>
              <a:gd name="connsiteX21" fmla="*/ 4566145 w 4671148"/>
              <a:gd name="connsiteY21" fmla="*/ 1641471 h 4671573"/>
              <a:gd name="connsiteX22" fmla="*/ 4671148 w 4671148"/>
              <a:gd name="connsiteY22" fmla="*/ 2335999 h 4671573"/>
              <a:gd name="connsiteX23" fmla="*/ 2335574 w 4671148"/>
              <a:gd name="connsiteY23" fmla="*/ 4671573 h 4671573"/>
              <a:gd name="connsiteX24" fmla="*/ 2312290 w 4671148"/>
              <a:gd name="connsiteY24" fmla="*/ 4670397 h 4671573"/>
              <a:gd name="connsiteX25" fmla="*/ 2100256 w 4671148"/>
              <a:gd name="connsiteY25" fmla="*/ 4293523 h 4671573"/>
              <a:gd name="connsiteX26" fmla="*/ 2306993 w 4671148"/>
              <a:gd name="connsiteY26" fmla="*/ 3926063 h 4671573"/>
              <a:gd name="connsiteX27" fmla="*/ 2335574 w 4671148"/>
              <a:gd name="connsiteY27" fmla="*/ 3927506 h 4671573"/>
              <a:gd name="connsiteX28" fmla="*/ 3927081 w 4671148"/>
              <a:gd name="connsiteY28" fmla="*/ 2335999 h 4671573"/>
              <a:gd name="connsiteX29" fmla="*/ 3855530 w 4671148"/>
              <a:gd name="connsiteY29" fmla="*/ 1862734 h 4671573"/>
              <a:gd name="connsiteX30" fmla="*/ 3818147 w 4671148"/>
              <a:gd name="connsiteY30" fmla="*/ 1760595 h 4671573"/>
              <a:gd name="connsiteX31" fmla="*/ 3832057 w 4671148"/>
              <a:gd name="connsiteY31" fmla="*/ 1787505 h 4671573"/>
              <a:gd name="connsiteX32" fmla="*/ 4265560 w 4671148"/>
              <a:gd name="connsiteY32" fmla="*/ 1802858 h 4671573"/>
              <a:gd name="connsiteX33" fmla="*/ 4496534 w 4671148"/>
              <a:gd name="connsiteY33" fmla="*/ 1451278 h 4671573"/>
              <a:gd name="connsiteX34" fmla="*/ 625183 w 4671148"/>
              <a:gd name="connsiteY34" fmla="*/ 1383481 h 4671573"/>
              <a:gd name="connsiteX35" fmla="*/ 852039 w 4671148"/>
              <a:gd name="connsiteY35" fmla="*/ 1753207 h 4671573"/>
              <a:gd name="connsiteX36" fmla="*/ 862742 w 4671148"/>
              <a:gd name="connsiteY36" fmla="*/ 1733980 h 4671573"/>
              <a:gd name="connsiteX37" fmla="*/ 815618 w 4671148"/>
              <a:gd name="connsiteY37" fmla="*/ 1862734 h 4671573"/>
              <a:gd name="connsiteX38" fmla="*/ 744067 w 4671148"/>
              <a:gd name="connsiteY38" fmla="*/ 2335999 h 4671573"/>
              <a:gd name="connsiteX39" fmla="*/ 2172852 w 4671148"/>
              <a:gd name="connsiteY39" fmla="*/ 3919289 h 4671573"/>
              <a:gd name="connsiteX40" fmla="*/ 2177176 w 4671148"/>
              <a:gd name="connsiteY40" fmla="*/ 3919508 h 4671573"/>
              <a:gd name="connsiteX41" fmla="*/ 1966751 w 4671148"/>
              <a:gd name="connsiteY41" fmla="*/ 4293523 h 4671573"/>
              <a:gd name="connsiteX42" fmla="*/ 2174881 w 4671148"/>
              <a:gd name="connsiteY42" fmla="*/ 4663459 h 4671573"/>
              <a:gd name="connsiteX43" fmla="*/ 2096775 w 4671148"/>
              <a:gd name="connsiteY43" fmla="*/ 4659515 h 4671573"/>
              <a:gd name="connsiteX44" fmla="*/ 0 w 4671148"/>
              <a:gd name="connsiteY44" fmla="*/ 2335999 h 4671573"/>
              <a:gd name="connsiteX45" fmla="*/ 183541 w 4671148"/>
              <a:gd name="connsiteY45" fmla="*/ 1426888 h 4671573"/>
              <a:gd name="connsiteX46" fmla="*/ 203538 w 4671148"/>
              <a:gd name="connsiteY46" fmla="*/ 1385377 h 4671573"/>
              <a:gd name="connsiteX47" fmla="*/ 625183 w 4671148"/>
              <a:gd name="connsiteY47" fmla="*/ 1383481 h 4671573"/>
              <a:gd name="connsiteX48" fmla="*/ 4442430 w 4671148"/>
              <a:gd name="connsiteY48" fmla="*/ 1321721 h 4671573"/>
              <a:gd name="connsiteX49" fmla="*/ 4503733 w 4671148"/>
              <a:gd name="connsiteY49" fmla="*/ 1440319 h 4671573"/>
              <a:gd name="connsiteX50" fmla="*/ 4496534 w 4671148"/>
              <a:gd name="connsiteY50" fmla="*/ 1451278 h 4671573"/>
              <a:gd name="connsiteX51" fmla="*/ 4487607 w 4671148"/>
              <a:gd name="connsiteY51" fmla="*/ 1426888 h 4671573"/>
              <a:gd name="connsiteX52" fmla="*/ 4439266 w 4671148"/>
              <a:gd name="connsiteY52" fmla="*/ 1326538 h 4671573"/>
              <a:gd name="connsiteX53" fmla="*/ 4442430 w 4671148"/>
              <a:gd name="connsiteY53" fmla="*/ 1321721 h 4671573"/>
              <a:gd name="connsiteX54" fmla="*/ 259711 w 4671148"/>
              <a:gd name="connsiteY54" fmla="*/ 1268769 h 4671573"/>
              <a:gd name="connsiteX55" fmla="*/ 203538 w 4671148"/>
              <a:gd name="connsiteY55" fmla="*/ 1385377 h 4671573"/>
              <a:gd name="connsiteX56" fmla="*/ 191412 w 4671148"/>
              <a:gd name="connsiteY56" fmla="*/ 1385431 h 4671573"/>
              <a:gd name="connsiteX57" fmla="*/ 256350 w 4671148"/>
              <a:gd name="connsiteY57" fmla="*/ 1268784 h 4671573"/>
              <a:gd name="connsiteX58" fmla="*/ 259711 w 4671148"/>
              <a:gd name="connsiteY58" fmla="*/ 1268769 h 4671573"/>
              <a:gd name="connsiteX59" fmla="*/ 2335574 w 4671148"/>
              <a:gd name="connsiteY59" fmla="*/ 425 h 4671573"/>
              <a:gd name="connsiteX60" fmla="*/ 4439266 w 4671148"/>
              <a:gd name="connsiteY60" fmla="*/ 1326538 h 4671573"/>
              <a:gd name="connsiteX61" fmla="*/ 4204258 w 4671148"/>
              <a:gd name="connsiteY61" fmla="*/ 1684260 h 4671573"/>
              <a:gd name="connsiteX62" fmla="*/ 3779224 w 4671148"/>
              <a:gd name="connsiteY62" fmla="*/ 1669207 h 4671573"/>
              <a:gd name="connsiteX63" fmla="*/ 3734995 w 4671148"/>
              <a:gd name="connsiteY63" fmla="*/ 1577392 h 4671573"/>
              <a:gd name="connsiteX64" fmla="*/ 2335574 w 4671148"/>
              <a:gd name="connsiteY64" fmla="*/ 744492 h 4671573"/>
              <a:gd name="connsiteX65" fmla="*/ 936154 w 4671148"/>
              <a:gd name="connsiteY65" fmla="*/ 1577392 h 4671573"/>
              <a:gd name="connsiteX66" fmla="*/ 911753 w 4671148"/>
              <a:gd name="connsiteY66" fmla="*/ 1628045 h 4671573"/>
              <a:gd name="connsiteX67" fmla="*/ 690121 w 4671148"/>
              <a:gd name="connsiteY67" fmla="*/ 1266833 h 4671573"/>
              <a:gd name="connsiteX68" fmla="*/ 259711 w 4671148"/>
              <a:gd name="connsiteY68" fmla="*/ 1268769 h 4671573"/>
              <a:gd name="connsiteX69" fmla="*/ 281891 w 4671148"/>
              <a:gd name="connsiteY69" fmla="*/ 1222726 h 4671573"/>
              <a:gd name="connsiteX70" fmla="*/ 2335574 w 4671148"/>
              <a:gd name="connsiteY70" fmla="*/ 425 h 4671573"/>
              <a:gd name="connsiteX0" fmla="*/ 2174881 w 4671148"/>
              <a:gd name="connsiteY0" fmla="*/ 4669987 h 4678101"/>
              <a:gd name="connsiteX1" fmla="*/ 2312290 w 4671148"/>
              <a:gd name="connsiteY1" fmla="*/ 4676925 h 4678101"/>
              <a:gd name="connsiteX2" fmla="*/ 2312951 w 4671148"/>
              <a:gd name="connsiteY2" fmla="*/ 4678101 h 4678101"/>
              <a:gd name="connsiteX3" fmla="*/ 2179446 w 4671148"/>
              <a:gd name="connsiteY3" fmla="*/ 4678101 h 4678101"/>
              <a:gd name="connsiteX4" fmla="*/ 2174881 w 4671148"/>
              <a:gd name="connsiteY4" fmla="*/ 4669987 h 4678101"/>
              <a:gd name="connsiteX5" fmla="*/ 2179446 w 4671148"/>
              <a:gd name="connsiteY5" fmla="*/ 3922001 h 4678101"/>
              <a:gd name="connsiteX6" fmla="*/ 2312951 w 4671148"/>
              <a:gd name="connsiteY6" fmla="*/ 3922001 h 4678101"/>
              <a:gd name="connsiteX7" fmla="*/ 2306993 w 4671148"/>
              <a:gd name="connsiteY7" fmla="*/ 3932591 h 4678101"/>
              <a:gd name="connsiteX8" fmla="*/ 2177176 w 4671148"/>
              <a:gd name="connsiteY8" fmla="*/ 3926036 h 4678101"/>
              <a:gd name="connsiteX9" fmla="*/ 2179446 w 4671148"/>
              <a:gd name="connsiteY9" fmla="*/ 3922001 h 4678101"/>
              <a:gd name="connsiteX10" fmla="*/ 3770754 w 4671148"/>
              <a:gd name="connsiteY10" fmla="*/ 1675435 h 4678101"/>
              <a:gd name="connsiteX11" fmla="*/ 3779224 w 4671148"/>
              <a:gd name="connsiteY11" fmla="*/ 1675735 h 4678101"/>
              <a:gd name="connsiteX12" fmla="*/ 3802013 w 4671148"/>
              <a:gd name="connsiteY12" fmla="*/ 1723041 h 4678101"/>
              <a:gd name="connsiteX13" fmla="*/ 3818147 w 4671148"/>
              <a:gd name="connsiteY13" fmla="*/ 1767123 h 4678101"/>
              <a:gd name="connsiteX14" fmla="*/ 3770754 w 4671148"/>
              <a:gd name="connsiteY14" fmla="*/ 1675435 h 4678101"/>
              <a:gd name="connsiteX15" fmla="*/ 911753 w 4671148"/>
              <a:gd name="connsiteY15" fmla="*/ 1634573 h 4678101"/>
              <a:gd name="connsiteX16" fmla="*/ 916978 w 4671148"/>
              <a:gd name="connsiteY16" fmla="*/ 1643087 h 4678101"/>
              <a:gd name="connsiteX17" fmla="*/ 862742 w 4671148"/>
              <a:gd name="connsiteY17" fmla="*/ 1740508 h 4678101"/>
              <a:gd name="connsiteX18" fmla="*/ 869136 w 4671148"/>
              <a:gd name="connsiteY18" fmla="*/ 1723041 h 4678101"/>
              <a:gd name="connsiteX19" fmla="*/ 911753 w 4671148"/>
              <a:gd name="connsiteY19" fmla="*/ 1634573 h 4678101"/>
              <a:gd name="connsiteX20" fmla="*/ 4496534 w 4671148"/>
              <a:gd name="connsiteY20" fmla="*/ 1457806 h 4678101"/>
              <a:gd name="connsiteX21" fmla="*/ 4566145 w 4671148"/>
              <a:gd name="connsiteY21" fmla="*/ 1647999 h 4678101"/>
              <a:gd name="connsiteX22" fmla="*/ 4671148 w 4671148"/>
              <a:gd name="connsiteY22" fmla="*/ 2342527 h 4678101"/>
              <a:gd name="connsiteX23" fmla="*/ 2335574 w 4671148"/>
              <a:gd name="connsiteY23" fmla="*/ 4678101 h 4678101"/>
              <a:gd name="connsiteX24" fmla="*/ 2312290 w 4671148"/>
              <a:gd name="connsiteY24" fmla="*/ 4676925 h 4678101"/>
              <a:gd name="connsiteX25" fmla="*/ 2100256 w 4671148"/>
              <a:gd name="connsiteY25" fmla="*/ 4300051 h 4678101"/>
              <a:gd name="connsiteX26" fmla="*/ 2306993 w 4671148"/>
              <a:gd name="connsiteY26" fmla="*/ 3932591 h 4678101"/>
              <a:gd name="connsiteX27" fmla="*/ 2335574 w 4671148"/>
              <a:gd name="connsiteY27" fmla="*/ 3934034 h 4678101"/>
              <a:gd name="connsiteX28" fmla="*/ 3927081 w 4671148"/>
              <a:gd name="connsiteY28" fmla="*/ 2342527 h 4678101"/>
              <a:gd name="connsiteX29" fmla="*/ 3855530 w 4671148"/>
              <a:gd name="connsiteY29" fmla="*/ 1869262 h 4678101"/>
              <a:gd name="connsiteX30" fmla="*/ 3818147 w 4671148"/>
              <a:gd name="connsiteY30" fmla="*/ 1767123 h 4678101"/>
              <a:gd name="connsiteX31" fmla="*/ 3832057 w 4671148"/>
              <a:gd name="connsiteY31" fmla="*/ 1794033 h 4678101"/>
              <a:gd name="connsiteX32" fmla="*/ 4265560 w 4671148"/>
              <a:gd name="connsiteY32" fmla="*/ 1809386 h 4678101"/>
              <a:gd name="connsiteX33" fmla="*/ 4496534 w 4671148"/>
              <a:gd name="connsiteY33" fmla="*/ 1457806 h 4678101"/>
              <a:gd name="connsiteX34" fmla="*/ 625183 w 4671148"/>
              <a:gd name="connsiteY34" fmla="*/ 1390009 h 4678101"/>
              <a:gd name="connsiteX35" fmla="*/ 852039 w 4671148"/>
              <a:gd name="connsiteY35" fmla="*/ 1759735 h 4678101"/>
              <a:gd name="connsiteX36" fmla="*/ 862742 w 4671148"/>
              <a:gd name="connsiteY36" fmla="*/ 1740508 h 4678101"/>
              <a:gd name="connsiteX37" fmla="*/ 815618 w 4671148"/>
              <a:gd name="connsiteY37" fmla="*/ 1869262 h 4678101"/>
              <a:gd name="connsiteX38" fmla="*/ 744067 w 4671148"/>
              <a:gd name="connsiteY38" fmla="*/ 2342527 h 4678101"/>
              <a:gd name="connsiteX39" fmla="*/ 2172852 w 4671148"/>
              <a:gd name="connsiteY39" fmla="*/ 3925817 h 4678101"/>
              <a:gd name="connsiteX40" fmla="*/ 2177176 w 4671148"/>
              <a:gd name="connsiteY40" fmla="*/ 3926036 h 4678101"/>
              <a:gd name="connsiteX41" fmla="*/ 1966751 w 4671148"/>
              <a:gd name="connsiteY41" fmla="*/ 4300051 h 4678101"/>
              <a:gd name="connsiteX42" fmla="*/ 2174881 w 4671148"/>
              <a:gd name="connsiteY42" fmla="*/ 4669987 h 4678101"/>
              <a:gd name="connsiteX43" fmla="*/ 2096775 w 4671148"/>
              <a:gd name="connsiteY43" fmla="*/ 4666043 h 4678101"/>
              <a:gd name="connsiteX44" fmla="*/ 0 w 4671148"/>
              <a:gd name="connsiteY44" fmla="*/ 2342527 h 4678101"/>
              <a:gd name="connsiteX45" fmla="*/ 183541 w 4671148"/>
              <a:gd name="connsiteY45" fmla="*/ 1433416 h 4678101"/>
              <a:gd name="connsiteX46" fmla="*/ 203538 w 4671148"/>
              <a:gd name="connsiteY46" fmla="*/ 1391905 h 4678101"/>
              <a:gd name="connsiteX47" fmla="*/ 625183 w 4671148"/>
              <a:gd name="connsiteY47" fmla="*/ 1390009 h 4678101"/>
              <a:gd name="connsiteX48" fmla="*/ 4442430 w 4671148"/>
              <a:gd name="connsiteY48" fmla="*/ 1328249 h 4678101"/>
              <a:gd name="connsiteX49" fmla="*/ 4503733 w 4671148"/>
              <a:gd name="connsiteY49" fmla="*/ 1446847 h 4678101"/>
              <a:gd name="connsiteX50" fmla="*/ 4496534 w 4671148"/>
              <a:gd name="connsiteY50" fmla="*/ 1457806 h 4678101"/>
              <a:gd name="connsiteX51" fmla="*/ 4487607 w 4671148"/>
              <a:gd name="connsiteY51" fmla="*/ 1433416 h 4678101"/>
              <a:gd name="connsiteX52" fmla="*/ 4439266 w 4671148"/>
              <a:gd name="connsiteY52" fmla="*/ 1333066 h 4678101"/>
              <a:gd name="connsiteX53" fmla="*/ 4442430 w 4671148"/>
              <a:gd name="connsiteY53" fmla="*/ 1328249 h 4678101"/>
              <a:gd name="connsiteX54" fmla="*/ 259711 w 4671148"/>
              <a:gd name="connsiteY54" fmla="*/ 1275297 h 4678101"/>
              <a:gd name="connsiteX55" fmla="*/ 203538 w 4671148"/>
              <a:gd name="connsiteY55" fmla="*/ 1391905 h 4678101"/>
              <a:gd name="connsiteX56" fmla="*/ 191412 w 4671148"/>
              <a:gd name="connsiteY56" fmla="*/ 1391959 h 4678101"/>
              <a:gd name="connsiteX57" fmla="*/ 256350 w 4671148"/>
              <a:gd name="connsiteY57" fmla="*/ 1275312 h 4678101"/>
              <a:gd name="connsiteX58" fmla="*/ 259711 w 4671148"/>
              <a:gd name="connsiteY58" fmla="*/ 1275297 h 4678101"/>
              <a:gd name="connsiteX59" fmla="*/ 2335574 w 4671148"/>
              <a:gd name="connsiteY59" fmla="*/ 6953 h 4678101"/>
              <a:gd name="connsiteX60" fmla="*/ 4204258 w 4671148"/>
              <a:gd name="connsiteY60" fmla="*/ 1690788 h 4678101"/>
              <a:gd name="connsiteX61" fmla="*/ 3779224 w 4671148"/>
              <a:gd name="connsiteY61" fmla="*/ 1675735 h 4678101"/>
              <a:gd name="connsiteX62" fmla="*/ 3734995 w 4671148"/>
              <a:gd name="connsiteY62" fmla="*/ 1583920 h 4678101"/>
              <a:gd name="connsiteX63" fmla="*/ 2335574 w 4671148"/>
              <a:gd name="connsiteY63" fmla="*/ 751020 h 4678101"/>
              <a:gd name="connsiteX64" fmla="*/ 936154 w 4671148"/>
              <a:gd name="connsiteY64" fmla="*/ 1583920 h 4678101"/>
              <a:gd name="connsiteX65" fmla="*/ 911753 w 4671148"/>
              <a:gd name="connsiteY65" fmla="*/ 1634573 h 4678101"/>
              <a:gd name="connsiteX66" fmla="*/ 690121 w 4671148"/>
              <a:gd name="connsiteY66" fmla="*/ 1273361 h 4678101"/>
              <a:gd name="connsiteX67" fmla="*/ 259711 w 4671148"/>
              <a:gd name="connsiteY67" fmla="*/ 1275297 h 4678101"/>
              <a:gd name="connsiteX68" fmla="*/ 281891 w 4671148"/>
              <a:gd name="connsiteY68" fmla="*/ 1229254 h 4678101"/>
              <a:gd name="connsiteX69" fmla="*/ 2335574 w 4671148"/>
              <a:gd name="connsiteY69" fmla="*/ 6953 h 4678101"/>
              <a:gd name="connsiteX0" fmla="*/ 2174881 w 4671148"/>
              <a:gd name="connsiteY0" fmla="*/ 4669589 h 4677703"/>
              <a:gd name="connsiteX1" fmla="*/ 2312290 w 4671148"/>
              <a:gd name="connsiteY1" fmla="*/ 4676527 h 4677703"/>
              <a:gd name="connsiteX2" fmla="*/ 2312951 w 4671148"/>
              <a:gd name="connsiteY2" fmla="*/ 4677703 h 4677703"/>
              <a:gd name="connsiteX3" fmla="*/ 2179446 w 4671148"/>
              <a:gd name="connsiteY3" fmla="*/ 4677703 h 4677703"/>
              <a:gd name="connsiteX4" fmla="*/ 2174881 w 4671148"/>
              <a:gd name="connsiteY4" fmla="*/ 4669589 h 4677703"/>
              <a:gd name="connsiteX5" fmla="*/ 2179446 w 4671148"/>
              <a:gd name="connsiteY5" fmla="*/ 3921603 h 4677703"/>
              <a:gd name="connsiteX6" fmla="*/ 2312951 w 4671148"/>
              <a:gd name="connsiteY6" fmla="*/ 3921603 h 4677703"/>
              <a:gd name="connsiteX7" fmla="*/ 2306993 w 4671148"/>
              <a:gd name="connsiteY7" fmla="*/ 3932193 h 4677703"/>
              <a:gd name="connsiteX8" fmla="*/ 2177176 w 4671148"/>
              <a:gd name="connsiteY8" fmla="*/ 3925638 h 4677703"/>
              <a:gd name="connsiteX9" fmla="*/ 2179446 w 4671148"/>
              <a:gd name="connsiteY9" fmla="*/ 3921603 h 4677703"/>
              <a:gd name="connsiteX10" fmla="*/ 3770754 w 4671148"/>
              <a:gd name="connsiteY10" fmla="*/ 1675037 h 4677703"/>
              <a:gd name="connsiteX11" fmla="*/ 3779224 w 4671148"/>
              <a:gd name="connsiteY11" fmla="*/ 1675337 h 4677703"/>
              <a:gd name="connsiteX12" fmla="*/ 3802013 w 4671148"/>
              <a:gd name="connsiteY12" fmla="*/ 1722643 h 4677703"/>
              <a:gd name="connsiteX13" fmla="*/ 3818147 w 4671148"/>
              <a:gd name="connsiteY13" fmla="*/ 1766725 h 4677703"/>
              <a:gd name="connsiteX14" fmla="*/ 3770754 w 4671148"/>
              <a:gd name="connsiteY14" fmla="*/ 1675037 h 4677703"/>
              <a:gd name="connsiteX15" fmla="*/ 911753 w 4671148"/>
              <a:gd name="connsiteY15" fmla="*/ 1634175 h 4677703"/>
              <a:gd name="connsiteX16" fmla="*/ 916978 w 4671148"/>
              <a:gd name="connsiteY16" fmla="*/ 1642689 h 4677703"/>
              <a:gd name="connsiteX17" fmla="*/ 862742 w 4671148"/>
              <a:gd name="connsiteY17" fmla="*/ 1740110 h 4677703"/>
              <a:gd name="connsiteX18" fmla="*/ 869136 w 4671148"/>
              <a:gd name="connsiteY18" fmla="*/ 1722643 h 4677703"/>
              <a:gd name="connsiteX19" fmla="*/ 911753 w 4671148"/>
              <a:gd name="connsiteY19" fmla="*/ 1634175 h 4677703"/>
              <a:gd name="connsiteX20" fmla="*/ 4496534 w 4671148"/>
              <a:gd name="connsiteY20" fmla="*/ 1457408 h 4677703"/>
              <a:gd name="connsiteX21" fmla="*/ 4566145 w 4671148"/>
              <a:gd name="connsiteY21" fmla="*/ 1647601 h 4677703"/>
              <a:gd name="connsiteX22" fmla="*/ 4671148 w 4671148"/>
              <a:gd name="connsiteY22" fmla="*/ 2342129 h 4677703"/>
              <a:gd name="connsiteX23" fmla="*/ 2335574 w 4671148"/>
              <a:gd name="connsiteY23" fmla="*/ 4677703 h 4677703"/>
              <a:gd name="connsiteX24" fmla="*/ 2312290 w 4671148"/>
              <a:gd name="connsiteY24" fmla="*/ 4676527 h 4677703"/>
              <a:gd name="connsiteX25" fmla="*/ 2100256 w 4671148"/>
              <a:gd name="connsiteY25" fmla="*/ 4299653 h 4677703"/>
              <a:gd name="connsiteX26" fmla="*/ 2306993 w 4671148"/>
              <a:gd name="connsiteY26" fmla="*/ 3932193 h 4677703"/>
              <a:gd name="connsiteX27" fmla="*/ 2335574 w 4671148"/>
              <a:gd name="connsiteY27" fmla="*/ 3933636 h 4677703"/>
              <a:gd name="connsiteX28" fmla="*/ 3927081 w 4671148"/>
              <a:gd name="connsiteY28" fmla="*/ 2342129 h 4677703"/>
              <a:gd name="connsiteX29" fmla="*/ 3855530 w 4671148"/>
              <a:gd name="connsiteY29" fmla="*/ 1868864 h 4677703"/>
              <a:gd name="connsiteX30" fmla="*/ 3818147 w 4671148"/>
              <a:gd name="connsiteY30" fmla="*/ 1766725 h 4677703"/>
              <a:gd name="connsiteX31" fmla="*/ 3832057 w 4671148"/>
              <a:gd name="connsiteY31" fmla="*/ 1793635 h 4677703"/>
              <a:gd name="connsiteX32" fmla="*/ 4265560 w 4671148"/>
              <a:gd name="connsiteY32" fmla="*/ 1808988 h 4677703"/>
              <a:gd name="connsiteX33" fmla="*/ 4496534 w 4671148"/>
              <a:gd name="connsiteY33" fmla="*/ 1457408 h 4677703"/>
              <a:gd name="connsiteX34" fmla="*/ 625183 w 4671148"/>
              <a:gd name="connsiteY34" fmla="*/ 1389611 h 4677703"/>
              <a:gd name="connsiteX35" fmla="*/ 852039 w 4671148"/>
              <a:gd name="connsiteY35" fmla="*/ 1759337 h 4677703"/>
              <a:gd name="connsiteX36" fmla="*/ 862742 w 4671148"/>
              <a:gd name="connsiteY36" fmla="*/ 1740110 h 4677703"/>
              <a:gd name="connsiteX37" fmla="*/ 815618 w 4671148"/>
              <a:gd name="connsiteY37" fmla="*/ 1868864 h 4677703"/>
              <a:gd name="connsiteX38" fmla="*/ 744067 w 4671148"/>
              <a:gd name="connsiteY38" fmla="*/ 2342129 h 4677703"/>
              <a:gd name="connsiteX39" fmla="*/ 2172852 w 4671148"/>
              <a:gd name="connsiteY39" fmla="*/ 3925419 h 4677703"/>
              <a:gd name="connsiteX40" fmla="*/ 2177176 w 4671148"/>
              <a:gd name="connsiteY40" fmla="*/ 3925638 h 4677703"/>
              <a:gd name="connsiteX41" fmla="*/ 1966751 w 4671148"/>
              <a:gd name="connsiteY41" fmla="*/ 4299653 h 4677703"/>
              <a:gd name="connsiteX42" fmla="*/ 2174881 w 4671148"/>
              <a:gd name="connsiteY42" fmla="*/ 4669589 h 4677703"/>
              <a:gd name="connsiteX43" fmla="*/ 2096775 w 4671148"/>
              <a:gd name="connsiteY43" fmla="*/ 4665645 h 4677703"/>
              <a:gd name="connsiteX44" fmla="*/ 0 w 4671148"/>
              <a:gd name="connsiteY44" fmla="*/ 2342129 h 4677703"/>
              <a:gd name="connsiteX45" fmla="*/ 183541 w 4671148"/>
              <a:gd name="connsiteY45" fmla="*/ 1433018 h 4677703"/>
              <a:gd name="connsiteX46" fmla="*/ 203538 w 4671148"/>
              <a:gd name="connsiteY46" fmla="*/ 1391507 h 4677703"/>
              <a:gd name="connsiteX47" fmla="*/ 625183 w 4671148"/>
              <a:gd name="connsiteY47" fmla="*/ 1389611 h 4677703"/>
              <a:gd name="connsiteX48" fmla="*/ 4442430 w 4671148"/>
              <a:gd name="connsiteY48" fmla="*/ 1327851 h 4677703"/>
              <a:gd name="connsiteX49" fmla="*/ 4503733 w 4671148"/>
              <a:gd name="connsiteY49" fmla="*/ 1446449 h 4677703"/>
              <a:gd name="connsiteX50" fmla="*/ 4496534 w 4671148"/>
              <a:gd name="connsiteY50" fmla="*/ 1457408 h 4677703"/>
              <a:gd name="connsiteX51" fmla="*/ 4487607 w 4671148"/>
              <a:gd name="connsiteY51" fmla="*/ 1433018 h 4677703"/>
              <a:gd name="connsiteX52" fmla="*/ 4439266 w 4671148"/>
              <a:gd name="connsiteY52" fmla="*/ 1332668 h 4677703"/>
              <a:gd name="connsiteX53" fmla="*/ 4442430 w 4671148"/>
              <a:gd name="connsiteY53" fmla="*/ 1327851 h 4677703"/>
              <a:gd name="connsiteX54" fmla="*/ 259711 w 4671148"/>
              <a:gd name="connsiteY54" fmla="*/ 1274899 h 4677703"/>
              <a:gd name="connsiteX55" fmla="*/ 203538 w 4671148"/>
              <a:gd name="connsiteY55" fmla="*/ 1391507 h 4677703"/>
              <a:gd name="connsiteX56" fmla="*/ 191412 w 4671148"/>
              <a:gd name="connsiteY56" fmla="*/ 1391561 h 4677703"/>
              <a:gd name="connsiteX57" fmla="*/ 256350 w 4671148"/>
              <a:gd name="connsiteY57" fmla="*/ 1274914 h 4677703"/>
              <a:gd name="connsiteX58" fmla="*/ 259711 w 4671148"/>
              <a:gd name="connsiteY58" fmla="*/ 1274899 h 4677703"/>
              <a:gd name="connsiteX59" fmla="*/ 2335574 w 4671148"/>
              <a:gd name="connsiteY59" fmla="*/ 6555 h 4677703"/>
              <a:gd name="connsiteX60" fmla="*/ 3779224 w 4671148"/>
              <a:gd name="connsiteY60" fmla="*/ 1675337 h 4677703"/>
              <a:gd name="connsiteX61" fmla="*/ 3734995 w 4671148"/>
              <a:gd name="connsiteY61" fmla="*/ 1583522 h 4677703"/>
              <a:gd name="connsiteX62" fmla="*/ 2335574 w 4671148"/>
              <a:gd name="connsiteY62" fmla="*/ 750622 h 4677703"/>
              <a:gd name="connsiteX63" fmla="*/ 936154 w 4671148"/>
              <a:gd name="connsiteY63" fmla="*/ 1583522 h 4677703"/>
              <a:gd name="connsiteX64" fmla="*/ 911753 w 4671148"/>
              <a:gd name="connsiteY64" fmla="*/ 1634175 h 4677703"/>
              <a:gd name="connsiteX65" fmla="*/ 690121 w 4671148"/>
              <a:gd name="connsiteY65" fmla="*/ 1272963 h 4677703"/>
              <a:gd name="connsiteX66" fmla="*/ 259711 w 4671148"/>
              <a:gd name="connsiteY66" fmla="*/ 1274899 h 4677703"/>
              <a:gd name="connsiteX67" fmla="*/ 281891 w 4671148"/>
              <a:gd name="connsiteY67" fmla="*/ 1228856 h 4677703"/>
              <a:gd name="connsiteX68" fmla="*/ 2335574 w 4671148"/>
              <a:gd name="connsiteY68" fmla="*/ 6555 h 4677703"/>
              <a:gd name="connsiteX0" fmla="*/ 2174881 w 4671148"/>
              <a:gd name="connsiteY0" fmla="*/ 4667364 h 4675478"/>
              <a:gd name="connsiteX1" fmla="*/ 2312290 w 4671148"/>
              <a:gd name="connsiteY1" fmla="*/ 4674302 h 4675478"/>
              <a:gd name="connsiteX2" fmla="*/ 2312951 w 4671148"/>
              <a:gd name="connsiteY2" fmla="*/ 4675478 h 4675478"/>
              <a:gd name="connsiteX3" fmla="*/ 2179446 w 4671148"/>
              <a:gd name="connsiteY3" fmla="*/ 4675478 h 4675478"/>
              <a:gd name="connsiteX4" fmla="*/ 2174881 w 4671148"/>
              <a:gd name="connsiteY4" fmla="*/ 4667364 h 4675478"/>
              <a:gd name="connsiteX5" fmla="*/ 2179446 w 4671148"/>
              <a:gd name="connsiteY5" fmla="*/ 3919378 h 4675478"/>
              <a:gd name="connsiteX6" fmla="*/ 2312951 w 4671148"/>
              <a:gd name="connsiteY6" fmla="*/ 3919378 h 4675478"/>
              <a:gd name="connsiteX7" fmla="*/ 2306993 w 4671148"/>
              <a:gd name="connsiteY7" fmla="*/ 3929968 h 4675478"/>
              <a:gd name="connsiteX8" fmla="*/ 2177176 w 4671148"/>
              <a:gd name="connsiteY8" fmla="*/ 3923413 h 4675478"/>
              <a:gd name="connsiteX9" fmla="*/ 2179446 w 4671148"/>
              <a:gd name="connsiteY9" fmla="*/ 3919378 h 4675478"/>
              <a:gd name="connsiteX10" fmla="*/ 3770754 w 4671148"/>
              <a:gd name="connsiteY10" fmla="*/ 1672812 h 4675478"/>
              <a:gd name="connsiteX11" fmla="*/ 3779224 w 4671148"/>
              <a:gd name="connsiteY11" fmla="*/ 1673112 h 4675478"/>
              <a:gd name="connsiteX12" fmla="*/ 3802013 w 4671148"/>
              <a:gd name="connsiteY12" fmla="*/ 1720418 h 4675478"/>
              <a:gd name="connsiteX13" fmla="*/ 3818147 w 4671148"/>
              <a:gd name="connsiteY13" fmla="*/ 1764500 h 4675478"/>
              <a:gd name="connsiteX14" fmla="*/ 3770754 w 4671148"/>
              <a:gd name="connsiteY14" fmla="*/ 1672812 h 4675478"/>
              <a:gd name="connsiteX15" fmla="*/ 911753 w 4671148"/>
              <a:gd name="connsiteY15" fmla="*/ 1631950 h 4675478"/>
              <a:gd name="connsiteX16" fmla="*/ 916978 w 4671148"/>
              <a:gd name="connsiteY16" fmla="*/ 1640464 h 4675478"/>
              <a:gd name="connsiteX17" fmla="*/ 862742 w 4671148"/>
              <a:gd name="connsiteY17" fmla="*/ 1737885 h 4675478"/>
              <a:gd name="connsiteX18" fmla="*/ 869136 w 4671148"/>
              <a:gd name="connsiteY18" fmla="*/ 1720418 h 4675478"/>
              <a:gd name="connsiteX19" fmla="*/ 911753 w 4671148"/>
              <a:gd name="connsiteY19" fmla="*/ 1631950 h 4675478"/>
              <a:gd name="connsiteX20" fmla="*/ 4496534 w 4671148"/>
              <a:gd name="connsiteY20" fmla="*/ 1455183 h 4675478"/>
              <a:gd name="connsiteX21" fmla="*/ 4566145 w 4671148"/>
              <a:gd name="connsiteY21" fmla="*/ 1645376 h 4675478"/>
              <a:gd name="connsiteX22" fmla="*/ 4671148 w 4671148"/>
              <a:gd name="connsiteY22" fmla="*/ 2339904 h 4675478"/>
              <a:gd name="connsiteX23" fmla="*/ 2335574 w 4671148"/>
              <a:gd name="connsiteY23" fmla="*/ 4675478 h 4675478"/>
              <a:gd name="connsiteX24" fmla="*/ 2312290 w 4671148"/>
              <a:gd name="connsiteY24" fmla="*/ 4674302 h 4675478"/>
              <a:gd name="connsiteX25" fmla="*/ 2100256 w 4671148"/>
              <a:gd name="connsiteY25" fmla="*/ 4297428 h 4675478"/>
              <a:gd name="connsiteX26" fmla="*/ 2306993 w 4671148"/>
              <a:gd name="connsiteY26" fmla="*/ 3929968 h 4675478"/>
              <a:gd name="connsiteX27" fmla="*/ 2335574 w 4671148"/>
              <a:gd name="connsiteY27" fmla="*/ 3931411 h 4675478"/>
              <a:gd name="connsiteX28" fmla="*/ 3927081 w 4671148"/>
              <a:gd name="connsiteY28" fmla="*/ 2339904 h 4675478"/>
              <a:gd name="connsiteX29" fmla="*/ 3855530 w 4671148"/>
              <a:gd name="connsiteY29" fmla="*/ 1866639 h 4675478"/>
              <a:gd name="connsiteX30" fmla="*/ 3818147 w 4671148"/>
              <a:gd name="connsiteY30" fmla="*/ 1764500 h 4675478"/>
              <a:gd name="connsiteX31" fmla="*/ 3832057 w 4671148"/>
              <a:gd name="connsiteY31" fmla="*/ 1791410 h 4675478"/>
              <a:gd name="connsiteX32" fmla="*/ 4265560 w 4671148"/>
              <a:gd name="connsiteY32" fmla="*/ 1806763 h 4675478"/>
              <a:gd name="connsiteX33" fmla="*/ 4496534 w 4671148"/>
              <a:gd name="connsiteY33" fmla="*/ 1455183 h 4675478"/>
              <a:gd name="connsiteX34" fmla="*/ 625183 w 4671148"/>
              <a:gd name="connsiteY34" fmla="*/ 1387386 h 4675478"/>
              <a:gd name="connsiteX35" fmla="*/ 852039 w 4671148"/>
              <a:gd name="connsiteY35" fmla="*/ 1757112 h 4675478"/>
              <a:gd name="connsiteX36" fmla="*/ 862742 w 4671148"/>
              <a:gd name="connsiteY36" fmla="*/ 1737885 h 4675478"/>
              <a:gd name="connsiteX37" fmla="*/ 815618 w 4671148"/>
              <a:gd name="connsiteY37" fmla="*/ 1866639 h 4675478"/>
              <a:gd name="connsiteX38" fmla="*/ 744067 w 4671148"/>
              <a:gd name="connsiteY38" fmla="*/ 2339904 h 4675478"/>
              <a:gd name="connsiteX39" fmla="*/ 2172852 w 4671148"/>
              <a:gd name="connsiteY39" fmla="*/ 3923194 h 4675478"/>
              <a:gd name="connsiteX40" fmla="*/ 2177176 w 4671148"/>
              <a:gd name="connsiteY40" fmla="*/ 3923413 h 4675478"/>
              <a:gd name="connsiteX41" fmla="*/ 1966751 w 4671148"/>
              <a:gd name="connsiteY41" fmla="*/ 4297428 h 4675478"/>
              <a:gd name="connsiteX42" fmla="*/ 2174881 w 4671148"/>
              <a:gd name="connsiteY42" fmla="*/ 4667364 h 4675478"/>
              <a:gd name="connsiteX43" fmla="*/ 2096775 w 4671148"/>
              <a:gd name="connsiteY43" fmla="*/ 4663420 h 4675478"/>
              <a:gd name="connsiteX44" fmla="*/ 0 w 4671148"/>
              <a:gd name="connsiteY44" fmla="*/ 2339904 h 4675478"/>
              <a:gd name="connsiteX45" fmla="*/ 183541 w 4671148"/>
              <a:gd name="connsiteY45" fmla="*/ 1430793 h 4675478"/>
              <a:gd name="connsiteX46" fmla="*/ 203538 w 4671148"/>
              <a:gd name="connsiteY46" fmla="*/ 1389282 h 4675478"/>
              <a:gd name="connsiteX47" fmla="*/ 625183 w 4671148"/>
              <a:gd name="connsiteY47" fmla="*/ 1387386 h 4675478"/>
              <a:gd name="connsiteX48" fmla="*/ 4442430 w 4671148"/>
              <a:gd name="connsiteY48" fmla="*/ 1325626 h 4675478"/>
              <a:gd name="connsiteX49" fmla="*/ 4503733 w 4671148"/>
              <a:gd name="connsiteY49" fmla="*/ 1444224 h 4675478"/>
              <a:gd name="connsiteX50" fmla="*/ 4496534 w 4671148"/>
              <a:gd name="connsiteY50" fmla="*/ 1455183 h 4675478"/>
              <a:gd name="connsiteX51" fmla="*/ 4487607 w 4671148"/>
              <a:gd name="connsiteY51" fmla="*/ 1430793 h 4675478"/>
              <a:gd name="connsiteX52" fmla="*/ 4439266 w 4671148"/>
              <a:gd name="connsiteY52" fmla="*/ 1330443 h 4675478"/>
              <a:gd name="connsiteX53" fmla="*/ 4442430 w 4671148"/>
              <a:gd name="connsiteY53" fmla="*/ 1325626 h 4675478"/>
              <a:gd name="connsiteX54" fmla="*/ 259711 w 4671148"/>
              <a:gd name="connsiteY54" fmla="*/ 1272674 h 4675478"/>
              <a:gd name="connsiteX55" fmla="*/ 203538 w 4671148"/>
              <a:gd name="connsiteY55" fmla="*/ 1389282 h 4675478"/>
              <a:gd name="connsiteX56" fmla="*/ 191412 w 4671148"/>
              <a:gd name="connsiteY56" fmla="*/ 1389336 h 4675478"/>
              <a:gd name="connsiteX57" fmla="*/ 256350 w 4671148"/>
              <a:gd name="connsiteY57" fmla="*/ 1272689 h 4675478"/>
              <a:gd name="connsiteX58" fmla="*/ 259711 w 4671148"/>
              <a:gd name="connsiteY58" fmla="*/ 1272674 h 4675478"/>
              <a:gd name="connsiteX59" fmla="*/ 2335574 w 4671148"/>
              <a:gd name="connsiteY59" fmla="*/ 4330 h 4675478"/>
              <a:gd name="connsiteX60" fmla="*/ 3734995 w 4671148"/>
              <a:gd name="connsiteY60" fmla="*/ 1581297 h 4675478"/>
              <a:gd name="connsiteX61" fmla="*/ 2335574 w 4671148"/>
              <a:gd name="connsiteY61" fmla="*/ 748397 h 4675478"/>
              <a:gd name="connsiteX62" fmla="*/ 936154 w 4671148"/>
              <a:gd name="connsiteY62" fmla="*/ 1581297 h 4675478"/>
              <a:gd name="connsiteX63" fmla="*/ 911753 w 4671148"/>
              <a:gd name="connsiteY63" fmla="*/ 1631950 h 4675478"/>
              <a:gd name="connsiteX64" fmla="*/ 690121 w 4671148"/>
              <a:gd name="connsiteY64" fmla="*/ 1270738 h 4675478"/>
              <a:gd name="connsiteX65" fmla="*/ 259711 w 4671148"/>
              <a:gd name="connsiteY65" fmla="*/ 1272674 h 4675478"/>
              <a:gd name="connsiteX66" fmla="*/ 281891 w 4671148"/>
              <a:gd name="connsiteY66" fmla="*/ 1226631 h 4675478"/>
              <a:gd name="connsiteX67" fmla="*/ 2335574 w 4671148"/>
              <a:gd name="connsiteY67" fmla="*/ 4330 h 4675478"/>
              <a:gd name="connsiteX0" fmla="*/ 2174881 w 4671148"/>
              <a:gd name="connsiteY0" fmla="*/ 4663881 h 4671995"/>
              <a:gd name="connsiteX1" fmla="*/ 2312290 w 4671148"/>
              <a:gd name="connsiteY1" fmla="*/ 4670819 h 4671995"/>
              <a:gd name="connsiteX2" fmla="*/ 2312951 w 4671148"/>
              <a:gd name="connsiteY2" fmla="*/ 4671995 h 4671995"/>
              <a:gd name="connsiteX3" fmla="*/ 2179446 w 4671148"/>
              <a:gd name="connsiteY3" fmla="*/ 4671995 h 4671995"/>
              <a:gd name="connsiteX4" fmla="*/ 2174881 w 4671148"/>
              <a:gd name="connsiteY4" fmla="*/ 4663881 h 4671995"/>
              <a:gd name="connsiteX5" fmla="*/ 2179446 w 4671148"/>
              <a:gd name="connsiteY5" fmla="*/ 3915895 h 4671995"/>
              <a:gd name="connsiteX6" fmla="*/ 2312951 w 4671148"/>
              <a:gd name="connsiteY6" fmla="*/ 3915895 h 4671995"/>
              <a:gd name="connsiteX7" fmla="*/ 2306993 w 4671148"/>
              <a:gd name="connsiteY7" fmla="*/ 3926485 h 4671995"/>
              <a:gd name="connsiteX8" fmla="*/ 2177176 w 4671148"/>
              <a:gd name="connsiteY8" fmla="*/ 3919930 h 4671995"/>
              <a:gd name="connsiteX9" fmla="*/ 2179446 w 4671148"/>
              <a:gd name="connsiteY9" fmla="*/ 3915895 h 4671995"/>
              <a:gd name="connsiteX10" fmla="*/ 3770754 w 4671148"/>
              <a:gd name="connsiteY10" fmla="*/ 1669329 h 4671995"/>
              <a:gd name="connsiteX11" fmla="*/ 3779224 w 4671148"/>
              <a:gd name="connsiteY11" fmla="*/ 1669629 h 4671995"/>
              <a:gd name="connsiteX12" fmla="*/ 3802013 w 4671148"/>
              <a:gd name="connsiteY12" fmla="*/ 1716935 h 4671995"/>
              <a:gd name="connsiteX13" fmla="*/ 3818147 w 4671148"/>
              <a:gd name="connsiteY13" fmla="*/ 1761017 h 4671995"/>
              <a:gd name="connsiteX14" fmla="*/ 3770754 w 4671148"/>
              <a:gd name="connsiteY14" fmla="*/ 1669329 h 4671995"/>
              <a:gd name="connsiteX15" fmla="*/ 911753 w 4671148"/>
              <a:gd name="connsiteY15" fmla="*/ 1628467 h 4671995"/>
              <a:gd name="connsiteX16" fmla="*/ 916978 w 4671148"/>
              <a:gd name="connsiteY16" fmla="*/ 1636981 h 4671995"/>
              <a:gd name="connsiteX17" fmla="*/ 862742 w 4671148"/>
              <a:gd name="connsiteY17" fmla="*/ 1734402 h 4671995"/>
              <a:gd name="connsiteX18" fmla="*/ 869136 w 4671148"/>
              <a:gd name="connsiteY18" fmla="*/ 1716935 h 4671995"/>
              <a:gd name="connsiteX19" fmla="*/ 911753 w 4671148"/>
              <a:gd name="connsiteY19" fmla="*/ 1628467 h 4671995"/>
              <a:gd name="connsiteX20" fmla="*/ 4496534 w 4671148"/>
              <a:gd name="connsiteY20" fmla="*/ 1451700 h 4671995"/>
              <a:gd name="connsiteX21" fmla="*/ 4566145 w 4671148"/>
              <a:gd name="connsiteY21" fmla="*/ 1641893 h 4671995"/>
              <a:gd name="connsiteX22" fmla="*/ 4671148 w 4671148"/>
              <a:gd name="connsiteY22" fmla="*/ 2336421 h 4671995"/>
              <a:gd name="connsiteX23" fmla="*/ 2335574 w 4671148"/>
              <a:gd name="connsiteY23" fmla="*/ 4671995 h 4671995"/>
              <a:gd name="connsiteX24" fmla="*/ 2312290 w 4671148"/>
              <a:gd name="connsiteY24" fmla="*/ 4670819 h 4671995"/>
              <a:gd name="connsiteX25" fmla="*/ 2100256 w 4671148"/>
              <a:gd name="connsiteY25" fmla="*/ 4293945 h 4671995"/>
              <a:gd name="connsiteX26" fmla="*/ 2306993 w 4671148"/>
              <a:gd name="connsiteY26" fmla="*/ 3926485 h 4671995"/>
              <a:gd name="connsiteX27" fmla="*/ 2335574 w 4671148"/>
              <a:gd name="connsiteY27" fmla="*/ 3927928 h 4671995"/>
              <a:gd name="connsiteX28" fmla="*/ 3927081 w 4671148"/>
              <a:gd name="connsiteY28" fmla="*/ 2336421 h 4671995"/>
              <a:gd name="connsiteX29" fmla="*/ 3855530 w 4671148"/>
              <a:gd name="connsiteY29" fmla="*/ 1863156 h 4671995"/>
              <a:gd name="connsiteX30" fmla="*/ 3818147 w 4671148"/>
              <a:gd name="connsiteY30" fmla="*/ 1761017 h 4671995"/>
              <a:gd name="connsiteX31" fmla="*/ 3832057 w 4671148"/>
              <a:gd name="connsiteY31" fmla="*/ 1787927 h 4671995"/>
              <a:gd name="connsiteX32" fmla="*/ 4265560 w 4671148"/>
              <a:gd name="connsiteY32" fmla="*/ 1803280 h 4671995"/>
              <a:gd name="connsiteX33" fmla="*/ 4496534 w 4671148"/>
              <a:gd name="connsiteY33" fmla="*/ 1451700 h 4671995"/>
              <a:gd name="connsiteX34" fmla="*/ 625183 w 4671148"/>
              <a:gd name="connsiteY34" fmla="*/ 1383903 h 4671995"/>
              <a:gd name="connsiteX35" fmla="*/ 852039 w 4671148"/>
              <a:gd name="connsiteY35" fmla="*/ 1753629 h 4671995"/>
              <a:gd name="connsiteX36" fmla="*/ 862742 w 4671148"/>
              <a:gd name="connsiteY36" fmla="*/ 1734402 h 4671995"/>
              <a:gd name="connsiteX37" fmla="*/ 815618 w 4671148"/>
              <a:gd name="connsiteY37" fmla="*/ 1863156 h 4671995"/>
              <a:gd name="connsiteX38" fmla="*/ 744067 w 4671148"/>
              <a:gd name="connsiteY38" fmla="*/ 2336421 h 4671995"/>
              <a:gd name="connsiteX39" fmla="*/ 2172852 w 4671148"/>
              <a:gd name="connsiteY39" fmla="*/ 3919711 h 4671995"/>
              <a:gd name="connsiteX40" fmla="*/ 2177176 w 4671148"/>
              <a:gd name="connsiteY40" fmla="*/ 3919930 h 4671995"/>
              <a:gd name="connsiteX41" fmla="*/ 1966751 w 4671148"/>
              <a:gd name="connsiteY41" fmla="*/ 4293945 h 4671995"/>
              <a:gd name="connsiteX42" fmla="*/ 2174881 w 4671148"/>
              <a:gd name="connsiteY42" fmla="*/ 4663881 h 4671995"/>
              <a:gd name="connsiteX43" fmla="*/ 2096775 w 4671148"/>
              <a:gd name="connsiteY43" fmla="*/ 4659937 h 4671995"/>
              <a:gd name="connsiteX44" fmla="*/ 0 w 4671148"/>
              <a:gd name="connsiteY44" fmla="*/ 2336421 h 4671995"/>
              <a:gd name="connsiteX45" fmla="*/ 183541 w 4671148"/>
              <a:gd name="connsiteY45" fmla="*/ 1427310 h 4671995"/>
              <a:gd name="connsiteX46" fmla="*/ 203538 w 4671148"/>
              <a:gd name="connsiteY46" fmla="*/ 1385799 h 4671995"/>
              <a:gd name="connsiteX47" fmla="*/ 625183 w 4671148"/>
              <a:gd name="connsiteY47" fmla="*/ 1383903 h 4671995"/>
              <a:gd name="connsiteX48" fmla="*/ 4442430 w 4671148"/>
              <a:gd name="connsiteY48" fmla="*/ 1322143 h 4671995"/>
              <a:gd name="connsiteX49" fmla="*/ 4503733 w 4671148"/>
              <a:gd name="connsiteY49" fmla="*/ 1440741 h 4671995"/>
              <a:gd name="connsiteX50" fmla="*/ 4496534 w 4671148"/>
              <a:gd name="connsiteY50" fmla="*/ 1451700 h 4671995"/>
              <a:gd name="connsiteX51" fmla="*/ 4487607 w 4671148"/>
              <a:gd name="connsiteY51" fmla="*/ 1427310 h 4671995"/>
              <a:gd name="connsiteX52" fmla="*/ 4439266 w 4671148"/>
              <a:gd name="connsiteY52" fmla="*/ 1326960 h 4671995"/>
              <a:gd name="connsiteX53" fmla="*/ 4442430 w 4671148"/>
              <a:gd name="connsiteY53" fmla="*/ 1322143 h 4671995"/>
              <a:gd name="connsiteX54" fmla="*/ 259711 w 4671148"/>
              <a:gd name="connsiteY54" fmla="*/ 1269191 h 4671995"/>
              <a:gd name="connsiteX55" fmla="*/ 203538 w 4671148"/>
              <a:gd name="connsiteY55" fmla="*/ 1385799 h 4671995"/>
              <a:gd name="connsiteX56" fmla="*/ 191412 w 4671148"/>
              <a:gd name="connsiteY56" fmla="*/ 1385853 h 4671995"/>
              <a:gd name="connsiteX57" fmla="*/ 256350 w 4671148"/>
              <a:gd name="connsiteY57" fmla="*/ 1269206 h 4671995"/>
              <a:gd name="connsiteX58" fmla="*/ 259711 w 4671148"/>
              <a:gd name="connsiteY58" fmla="*/ 1269191 h 4671995"/>
              <a:gd name="connsiteX59" fmla="*/ 2335574 w 4671148"/>
              <a:gd name="connsiteY59" fmla="*/ 847 h 4671995"/>
              <a:gd name="connsiteX60" fmla="*/ 3439635 w 4671148"/>
              <a:gd name="connsiteY60" fmla="*/ 1371467 h 4671995"/>
              <a:gd name="connsiteX61" fmla="*/ 2335574 w 4671148"/>
              <a:gd name="connsiteY61" fmla="*/ 744914 h 4671995"/>
              <a:gd name="connsiteX62" fmla="*/ 936154 w 4671148"/>
              <a:gd name="connsiteY62" fmla="*/ 1577814 h 4671995"/>
              <a:gd name="connsiteX63" fmla="*/ 911753 w 4671148"/>
              <a:gd name="connsiteY63" fmla="*/ 1628467 h 4671995"/>
              <a:gd name="connsiteX64" fmla="*/ 690121 w 4671148"/>
              <a:gd name="connsiteY64" fmla="*/ 1267255 h 4671995"/>
              <a:gd name="connsiteX65" fmla="*/ 259711 w 4671148"/>
              <a:gd name="connsiteY65" fmla="*/ 1269191 h 4671995"/>
              <a:gd name="connsiteX66" fmla="*/ 281891 w 4671148"/>
              <a:gd name="connsiteY66" fmla="*/ 1223148 h 4671995"/>
              <a:gd name="connsiteX67" fmla="*/ 2335574 w 4671148"/>
              <a:gd name="connsiteY67" fmla="*/ 847 h 4671995"/>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911753 w 4671148"/>
              <a:gd name="connsiteY15" fmla="*/ 1635300 h 4678828"/>
              <a:gd name="connsiteX16" fmla="*/ 916978 w 4671148"/>
              <a:gd name="connsiteY16" fmla="*/ 1643814 h 4678828"/>
              <a:gd name="connsiteX17" fmla="*/ 862742 w 4671148"/>
              <a:gd name="connsiteY17" fmla="*/ 1741235 h 4678828"/>
              <a:gd name="connsiteX18" fmla="*/ 869136 w 4671148"/>
              <a:gd name="connsiteY18" fmla="*/ 1723768 h 4678828"/>
              <a:gd name="connsiteX19" fmla="*/ 911753 w 4671148"/>
              <a:gd name="connsiteY19" fmla="*/ 1635300 h 4678828"/>
              <a:gd name="connsiteX20" fmla="*/ 4496534 w 4671148"/>
              <a:gd name="connsiteY20" fmla="*/ 1458533 h 4678828"/>
              <a:gd name="connsiteX21" fmla="*/ 4566145 w 4671148"/>
              <a:gd name="connsiteY21" fmla="*/ 1648726 h 4678828"/>
              <a:gd name="connsiteX22" fmla="*/ 4671148 w 4671148"/>
              <a:gd name="connsiteY22" fmla="*/ 2343254 h 4678828"/>
              <a:gd name="connsiteX23" fmla="*/ 2335574 w 4671148"/>
              <a:gd name="connsiteY23" fmla="*/ 4678828 h 4678828"/>
              <a:gd name="connsiteX24" fmla="*/ 2312290 w 4671148"/>
              <a:gd name="connsiteY24" fmla="*/ 4677652 h 4678828"/>
              <a:gd name="connsiteX25" fmla="*/ 2100256 w 4671148"/>
              <a:gd name="connsiteY25" fmla="*/ 4300778 h 4678828"/>
              <a:gd name="connsiteX26" fmla="*/ 2306993 w 4671148"/>
              <a:gd name="connsiteY26" fmla="*/ 3933318 h 4678828"/>
              <a:gd name="connsiteX27" fmla="*/ 2335574 w 4671148"/>
              <a:gd name="connsiteY27" fmla="*/ 3934761 h 4678828"/>
              <a:gd name="connsiteX28" fmla="*/ 3927081 w 4671148"/>
              <a:gd name="connsiteY28" fmla="*/ 2343254 h 4678828"/>
              <a:gd name="connsiteX29" fmla="*/ 3855530 w 4671148"/>
              <a:gd name="connsiteY29" fmla="*/ 1869989 h 4678828"/>
              <a:gd name="connsiteX30" fmla="*/ 3818147 w 4671148"/>
              <a:gd name="connsiteY30" fmla="*/ 1767850 h 4678828"/>
              <a:gd name="connsiteX31" fmla="*/ 3832057 w 4671148"/>
              <a:gd name="connsiteY31" fmla="*/ 1794760 h 4678828"/>
              <a:gd name="connsiteX32" fmla="*/ 4265560 w 4671148"/>
              <a:gd name="connsiteY32" fmla="*/ 1810113 h 4678828"/>
              <a:gd name="connsiteX33" fmla="*/ 4496534 w 4671148"/>
              <a:gd name="connsiteY33" fmla="*/ 1458533 h 4678828"/>
              <a:gd name="connsiteX34" fmla="*/ 625183 w 4671148"/>
              <a:gd name="connsiteY34" fmla="*/ 1390736 h 4678828"/>
              <a:gd name="connsiteX35" fmla="*/ 852039 w 4671148"/>
              <a:gd name="connsiteY35" fmla="*/ 1760462 h 4678828"/>
              <a:gd name="connsiteX36" fmla="*/ 862742 w 4671148"/>
              <a:gd name="connsiteY36" fmla="*/ 1741235 h 4678828"/>
              <a:gd name="connsiteX37" fmla="*/ 815618 w 4671148"/>
              <a:gd name="connsiteY37" fmla="*/ 1869989 h 4678828"/>
              <a:gd name="connsiteX38" fmla="*/ 744067 w 4671148"/>
              <a:gd name="connsiteY38" fmla="*/ 2343254 h 4678828"/>
              <a:gd name="connsiteX39" fmla="*/ 2172852 w 4671148"/>
              <a:gd name="connsiteY39" fmla="*/ 3926544 h 4678828"/>
              <a:gd name="connsiteX40" fmla="*/ 2177176 w 4671148"/>
              <a:gd name="connsiteY40" fmla="*/ 3926763 h 4678828"/>
              <a:gd name="connsiteX41" fmla="*/ 1966751 w 4671148"/>
              <a:gd name="connsiteY41" fmla="*/ 4300778 h 4678828"/>
              <a:gd name="connsiteX42" fmla="*/ 2174881 w 4671148"/>
              <a:gd name="connsiteY42" fmla="*/ 4670714 h 4678828"/>
              <a:gd name="connsiteX43" fmla="*/ 2096775 w 4671148"/>
              <a:gd name="connsiteY43" fmla="*/ 4666770 h 4678828"/>
              <a:gd name="connsiteX44" fmla="*/ 0 w 4671148"/>
              <a:gd name="connsiteY44" fmla="*/ 2343254 h 4678828"/>
              <a:gd name="connsiteX45" fmla="*/ 183541 w 4671148"/>
              <a:gd name="connsiteY45" fmla="*/ 1434143 h 4678828"/>
              <a:gd name="connsiteX46" fmla="*/ 203538 w 4671148"/>
              <a:gd name="connsiteY46" fmla="*/ 1392632 h 4678828"/>
              <a:gd name="connsiteX47" fmla="*/ 625183 w 4671148"/>
              <a:gd name="connsiteY47" fmla="*/ 1390736 h 4678828"/>
              <a:gd name="connsiteX48" fmla="*/ 4442430 w 4671148"/>
              <a:gd name="connsiteY48" fmla="*/ 1328976 h 4678828"/>
              <a:gd name="connsiteX49" fmla="*/ 4503733 w 4671148"/>
              <a:gd name="connsiteY49" fmla="*/ 1447574 h 4678828"/>
              <a:gd name="connsiteX50" fmla="*/ 4496534 w 4671148"/>
              <a:gd name="connsiteY50" fmla="*/ 1458533 h 4678828"/>
              <a:gd name="connsiteX51" fmla="*/ 4487607 w 4671148"/>
              <a:gd name="connsiteY51" fmla="*/ 1434143 h 4678828"/>
              <a:gd name="connsiteX52" fmla="*/ 4439266 w 4671148"/>
              <a:gd name="connsiteY52" fmla="*/ 1333793 h 4678828"/>
              <a:gd name="connsiteX53" fmla="*/ 4442430 w 4671148"/>
              <a:gd name="connsiteY53" fmla="*/ 1328976 h 4678828"/>
              <a:gd name="connsiteX54" fmla="*/ 259711 w 4671148"/>
              <a:gd name="connsiteY54" fmla="*/ 1276024 h 4678828"/>
              <a:gd name="connsiteX55" fmla="*/ 203538 w 4671148"/>
              <a:gd name="connsiteY55" fmla="*/ 1392632 h 4678828"/>
              <a:gd name="connsiteX56" fmla="*/ 191412 w 4671148"/>
              <a:gd name="connsiteY56" fmla="*/ 1392686 h 4678828"/>
              <a:gd name="connsiteX57" fmla="*/ 256350 w 4671148"/>
              <a:gd name="connsiteY57" fmla="*/ 1276039 h 4678828"/>
              <a:gd name="connsiteX58" fmla="*/ 259711 w 4671148"/>
              <a:gd name="connsiteY58" fmla="*/ 1276024 h 4678828"/>
              <a:gd name="connsiteX59" fmla="*/ 2335574 w 4671148"/>
              <a:gd name="connsiteY59" fmla="*/ 7680 h 4678828"/>
              <a:gd name="connsiteX60" fmla="*/ 2335574 w 4671148"/>
              <a:gd name="connsiteY60" fmla="*/ 751747 h 4678828"/>
              <a:gd name="connsiteX61" fmla="*/ 936154 w 4671148"/>
              <a:gd name="connsiteY61" fmla="*/ 1584647 h 4678828"/>
              <a:gd name="connsiteX62" fmla="*/ 911753 w 4671148"/>
              <a:gd name="connsiteY62" fmla="*/ 1635300 h 4678828"/>
              <a:gd name="connsiteX63" fmla="*/ 690121 w 4671148"/>
              <a:gd name="connsiteY63" fmla="*/ 1274088 h 4678828"/>
              <a:gd name="connsiteX64" fmla="*/ 259711 w 4671148"/>
              <a:gd name="connsiteY64" fmla="*/ 1276024 h 4678828"/>
              <a:gd name="connsiteX65" fmla="*/ 281891 w 4671148"/>
              <a:gd name="connsiteY65" fmla="*/ 1229981 h 4678828"/>
              <a:gd name="connsiteX66" fmla="*/ 2335574 w 4671148"/>
              <a:gd name="connsiteY66" fmla="*/ 7680 h 4678828"/>
              <a:gd name="connsiteX0" fmla="*/ 2174881 w 4671148"/>
              <a:gd name="connsiteY0" fmla="*/ 4667364 h 4675478"/>
              <a:gd name="connsiteX1" fmla="*/ 2312290 w 4671148"/>
              <a:gd name="connsiteY1" fmla="*/ 4674302 h 4675478"/>
              <a:gd name="connsiteX2" fmla="*/ 2312951 w 4671148"/>
              <a:gd name="connsiteY2" fmla="*/ 4675478 h 4675478"/>
              <a:gd name="connsiteX3" fmla="*/ 2179446 w 4671148"/>
              <a:gd name="connsiteY3" fmla="*/ 4675478 h 4675478"/>
              <a:gd name="connsiteX4" fmla="*/ 2174881 w 4671148"/>
              <a:gd name="connsiteY4" fmla="*/ 4667364 h 4675478"/>
              <a:gd name="connsiteX5" fmla="*/ 2179446 w 4671148"/>
              <a:gd name="connsiteY5" fmla="*/ 3919378 h 4675478"/>
              <a:gd name="connsiteX6" fmla="*/ 2312951 w 4671148"/>
              <a:gd name="connsiteY6" fmla="*/ 3919378 h 4675478"/>
              <a:gd name="connsiteX7" fmla="*/ 2306993 w 4671148"/>
              <a:gd name="connsiteY7" fmla="*/ 3929968 h 4675478"/>
              <a:gd name="connsiteX8" fmla="*/ 2177176 w 4671148"/>
              <a:gd name="connsiteY8" fmla="*/ 3923413 h 4675478"/>
              <a:gd name="connsiteX9" fmla="*/ 2179446 w 4671148"/>
              <a:gd name="connsiteY9" fmla="*/ 3919378 h 4675478"/>
              <a:gd name="connsiteX10" fmla="*/ 3770754 w 4671148"/>
              <a:gd name="connsiteY10" fmla="*/ 1672812 h 4675478"/>
              <a:gd name="connsiteX11" fmla="*/ 3779224 w 4671148"/>
              <a:gd name="connsiteY11" fmla="*/ 1673112 h 4675478"/>
              <a:gd name="connsiteX12" fmla="*/ 3802013 w 4671148"/>
              <a:gd name="connsiteY12" fmla="*/ 1720418 h 4675478"/>
              <a:gd name="connsiteX13" fmla="*/ 3818147 w 4671148"/>
              <a:gd name="connsiteY13" fmla="*/ 1764500 h 4675478"/>
              <a:gd name="connsiteX14" fmla="*/ 3770754 w 4671148"/>
              <a:gd name="connsiteY14" fmla="*/ 1672812 h 4675478"/>
              <a:gd name="connsiteX15" fmla="*/ 911753 w 4671148"/>
              <a:gd name="connsiteY15" fmla="*/ 1631950 h 4675478"/>
              <a:gd name="connsiteX16" fmla="*/ 916978 w 4671148"/>
              <a:gd name="connsiteY16" fmla="*/ 1640464 h 4675478"/>
              <a:gd name="connsiteX17" fmla="*/ 862742 w 4671148"/>
              <a:gd name="connsiteY17" fmla="*/ 1737885 h 4675478"/>
              <a:gd name="connsiteX18" fmla="*/ 869136 w 4671148"/>
              <a:gd name="connsiteY18" fmla="*/ 1720418 h 4675478"/>
              <a:gd name="connsiteX19" fmla="*/ 911753 w 4671148"/>
              <a:gd name="connsiteY19" fmla="*/ 1631950 h 4675478"/>
              <a:gd name="connsiteX20" fmla="*/ 4496534 w 4671148"/>
              <a:gd name="connsiteY20" fmla="*/ 1455183 h 4675478"/>
              <a:gd name="connsiteX21" fmla="*/ 4566145 w 4671148"/>
              <a:gd name="connsiteY21" fmla="*/ 1645376 h 4675478"/>
              <a:gd name="connsiteX22" fmla="*/ 4671148 w 4671148"/>
              <a:gd name="connsiteY22" fmla="*/ 2339904 h 4675478"/>
              <a:gd name="connsiteX23" fmla="*/ 2335574 w 4671148"/>
              <a:gd name="connsiteY23" fmla="*/ 4675478 h 4675478"/>
              <a:gd name="connsiteX24" fmla="*/ 2312290 w 4671148"/>
              <a:gd name="connsiteY24" fmla="*/ 4674302 h 4675478"/>
              <a:gd name="connsiteX25" fmla="*/ 2100256 w 4671148"/>
              <a:gd name="connsiteY25" fmla="*/ 4297428 h 4675478"/>
              <a:gd name="connsiteX26" fmla="*/ 2306993 w 4671148"/>
              <a:gd name="connsiteY26" fmla="*/ 3929968 h 4675478"/>
              <a:gd name="connsiteX27" fmla="*/ 2335574 w 4671148"/>
              <a:gd name="connsiteY27" fmla="*/ 3931411 h 4675478"/>
              <a:gd name="connsiteX28" fmla="*/ 3927081 w 4671148"/>
              <a:gd name="connsiteY28" fmla="*/ 2339904 h 4675478"/>
              <a:gd name="connsiteX29" fmla="*/ 3855530 w 4671148"/>
              <a:gd name="connsiteY29" fmla="*/ 1866639 h 4675478"/>
              <a:gd name="connsiteX30" fmla="*/ 3818147 w 4671148"/>
              <a:gd name="connsiteY30" fmla="*/ 1764500 h 4675478"/>
              <a:gd name="connsiteX31" fmla="*/ 3832057 w 4671148"/>
              <a:gd name="connsiteY31" fmla="*/ 1791410 h 4675478"/>
              <a:gd name="connsiteX32" fmla="*/ 4265560 w 4671148"/>
              <a:gd name="connsiteY32" fmla="*/ 1806763 h 4675478"/>
              <a:gd name="connsiteX33" fmla="*/ 4496534 w 4671148"/>
              <a:gd name="connsiteY33" fmla="*/ 1455183 h 4675478"/>
              <a:gd name="connsiteX34" fmla="*/ 625183 w 4671148"/>
              <a:gd name="connsiteY34" fmla="*/ 1387386 h 4675478"/>
              <a:gd name="connsiteX35" fmla="*/ 852039 w 4671148"/>
              <a:gd name="connsiteY35" fmla="*/ 1757112 h 4675478"/>
              <a:gd name="connsiteX36" fmla="*/ 862742 w 4671148"/>
              <a:gd name="connsiteY36" fmla="*/ 1737885 h 4675478"/>
              <a:gd name="connsiteX37" fmla="*/ 815618 w 4671148"/>
              <a:gd name="connsiteY37" fmla="*/ 1866639 h 4675478"/>
              <a:gd name="connsiteX38" fmla="*/ 744067 w 4671148"/>
              <a:gd name="connsiteY38" fmla="*/ 2339904 h 4675478"/>
              <a:gd name="connsiteX39" fmla="*/ 2172852 w 4671148"/>
              <a:gd name="connsiteY39" fmla="*/ 3923194 h 4675478"/>
              <a:gd name="connsiteX40" fmla="*/ 2177176 w 4671148"/>
              <a:gd name="connsiteY40" fmla="*/ 3923413 h 4675478"/>
              <a:gd name="connsiteX41" fmla="*/ 1966751 w 4671148"/>
              <a:gd name="connsiteY41" fmla="*/ 4297428 h 4675478"/>
              <a:gd name="connsiteX42" fmla="*/ 2174881 w 4671148"/>
              <a:gd name="connsiteY42" fmla="*/ 4667364 h 4675478"/>
              <a:gd name="connsiteX43" fmla="*/ 2096775 w 4671148"/>
              <a:gd name="connsiteY43" fmla="*/ 4663420 h 4675478"/>
              <a:gd name="connsiteX44" fmla="*/ 0 w 4671148"/>
              <a:gd name="connsiteY44" fmla="*/ 2339904 h 4675478"/>
              <a:gd name="connsiteX45" fmla="*/ 183541 w 4671148"/>
              <a:gd name="connsiteY45" fmla="*/ 1430793 h 4675478"/>
              <a:gd name="connsiteX46" fmla="*/ 203538 w 4671148"/>
              <a:gd name="connsiteY46" fmla="*/ 1389282 h 4675478"/>
              <a:gd name="connsiteX47" fmla="*/ 625183 w 4671148"/>
              <a:gd name="connsiteY47" fmla="*/ 1387386 h 4675478"/>
              <a:gd name="connsiteX48" fmla="*/ 4442430 w 4671148"/>
              <a:gd name="connsiteY48" fmla="*/ 1325626 h 4675478"/>
              <a:gd name="connsiteX49" fmla="*/ 4503733 w 4671148"/>
              <a:gd name="connsiteY49" fmla="*/ 1444224 h 4675478"/>
              <a:gd name="connsiteX50" fmla="*/ 4496534 w 4671148"/>
              <a:gd name="connsiteY50" fmla="*/ 1455183 h 4675478"/>
              <a:gd name="connsiteX51" fmla="*/ 4487607 w 4671148"/>
              <a:gd name="connsiteY51" fmla="*/ 1430793 h 4675478"/>
              <a:gd name="connsiteX52" fmla="*/ 4439266 w 4671148"/>
              <a:gd name="connsiteY52" fmla="*/ 1330443 h 4675478"/>
              <a:gd name="connsiteX53" fmla="*/ 4442430 w 4671148"/>
              <a:gd name="connsiteY53" fmla="*/ 1325626 h 4675478"/>
              <a:gd name="connsiteX54" fmla="*/ 259711 w 4671148"/>
              <a:gd name="connsiteY54" fmla="*/ 1272674 h 4675478"/>
              <a:gd name="connsiteX55" fmla="*/ 203538 w 4671148"/>
              <a:gd name="connsiteY55" fmla="*/ 1389282 h 4675478"/>
              <a:gd name="connsiteX56" fmla="*/ 191412 w 4671148"/>
              <a:gd name="connsiteY56" fmla="*/ 1389336 h 4675478"/>
              <a:gd name="connsiteX57" fmla="*/ 256350 w 4671148"/>
              <a:gd name="connsiteY57" fmla="*/ 1272689 h 4675478"/>
              <a:gd name="connsiteX58" fmla="*/ 259711 w 4671148"/>
              <a:gd name="connsiteY58" fmla="*/ 1272674 h 4675478"/>
              <a:gd name="connsiteX59" fmla="*/ 2335574 w 4671148"/>
              <a:gd name="connsiteY59" fmla="*/ 4330 h 4675478"/>
              <a:gd name="connsiteX60" fmla="*/ 936154 w 4671148"/>
              <a:gd name="connsiteY60" fmla="*/ 1581297 h 4675478"/>
              <a:gd name="connsiteX61" fmla="*/ 911753 w 4671148"/>
              <a:gd name="connsiteY61" fmla="*/ 1631950 h 4675478"/>
              <a:gd name="connsiteX62" fmla="*/ 690121 w 4671148"/>
              <a:gd name="connsiteY62" fmla="*/ 1270738 h 4675478"/>
              <a:gd name="connsiteX63" fmla="*/ 259711 w 4671148"/>
              <a:gd name="connsiteY63" fmla="*/ 1272674 h 4675478"/>
              <a:gd name="connsiteX64" fmla="*/ 281891 w 4671148"/>
              <a:gd name="connsiteY64" fmla="*/ 1226631 h 4675478"/>
              <a:gd name="connsiteX65" fmla="*/ 2335574 w 4671148"/>
              <a:gd name="connsiteY65" fmla="*/ 4330 h 4675478"/>
              <a:gd name="connsiteX0" fmla="*/ 2174881 w 4671148"/>
              <a:gd name="connsiteY0" fmla="*/ 3440733 h 3448847"/>
              <a:gd name="connsiteX1" fmla="*/ 2312290 w 4671148"/>
              <a:gd name="connsiteY1" fmla="*/ 3447671 h 3448847"/>
              <a:gd name="connsiteX2" fmla="*/ 2312951 w 4671148"/>
              <a:gd name="connsiteY2" fmla="*/ 3448847 h 3448847"/>
              <a:gd name="connsiteX3" fmla="*/ 2179446 w 4671148"/>
              <a:gd name="connsiteY3" fmla="*/ 3448847 h 3448847"/>
              <a:gd name="connsiteX4" fmla="*/ 2174881 w 4671148"/>
              <a:gd name="connsiteY4" fmla="*/ 3440733 h 3448847"/>
              <a:gd name="connsiteX5" fmla="*/ 2179446 w 4671148"/>
              <a:gd name="connsiteY5" fmla="*/ 2692747 h 3448847"/>
              <a:gd name="connsiteX6" fmla="*/ 2312951 w 4671148"/>
              <a:gd name="connsiteY6" fmla="*/ 2692747 h 3448847"/>
              <a:gd name="connsiteX7" fmla="*/ 2306993 w 4671148"/>
              <a:gd name="connsiteY7" fmla="*/ 2703337 h 3448847"/>
              <a:gd name="connsiteX8" fmla="*/ 2177176 w 4671148"/>
              <a:gd name="connsiteY8" fmla="*/ 2696782 h 3448847"/>
              <a:gd name="connsiteX9" fmla="*/ 2179446 w 4671148"/>
              <a:gd name="connsiteY9" fmla="*/ 2692747 h 3448847"/>
              <a:gd name="connsiteX10" fmla="*/ 3770754 w 4671148"/>
              <a:gd name="connsiteY10" fmla="*/ 446181 h 3448847"/>
              <a:gd name="connsiteX11" fmla="*/ 3779224 w 4671148"/>
              <a:gd name="connsiteY11" fmla="*/ 446481 h 3448847"/>
              <a:gd name="connsiteX12" fmla="*/ 3802013 w 4671148"/>
              <a:gd name="connsiteY12" fmla="*/ 493787 h 3448847"/>
              <a:gd name="connsiteX13" fmla="*/ 3818147 w 4671148"/>
              <a:gd name="connsiteY13" fmla="*/ 537869 h 3448847"/>
              <a:gd name="connsiteX14" fmla="*/ 3770754 w 4671148"/>
              <a:gd name="connsiteY14" fmla="*/ 446181 h 3448847"/>
              <a:gd name="connsiteX15" fmla="*/ 911753 w 4671148"/>
              <a:gd name="connsiteY15" fmla="*/ 405319 h 3448847"/>
              <a:gd name="connsiteX16" fmla="*/ 916978 w 4671148"/>
              <a:gd name="connsiteY16" fmla="*/ 413833 h 3448847"/>
              <a:gd name="connsiteX17" fmla="*/ 862742 w 4671148"/>
              <a:gd name="connsiteY17" fmla="*/ 511254 h 3448847"/>
              <a:gd name="connsiteX18" fmla="*/ 869136 w 4671148"/>
              <a:gd name="connsiteY18" fmla="*/ 493787 h 3448847"/>
              <a:gd name="connsiteX19" fmla="*/ 911753 w 4671148"/>
              <a:gd name="connsiteY19" fmla="*/ 405319 h 3448847"/>
              <a:gd name="connsiteX20" fmla="*/ 4496534 w 4671148"/>
              <a:gd name="connsiteY20" fmla="*/ 228552 h 3448847"/>
              <a:gd name="connsiteX21" fmla="*/ 4566145 w 4671148"/>
              <a:gd name="connsiteY21" fmla="*/ 418745 h 3448847"/>
              <a:gd name="connsiteX22" fmla="*/ 4671148 w 4671148"/>
              <a:gd name="connsiteY22" fmla="*/ 1113273 h 3448847"/>
              <a:gd name="connsiteX23" fmla="*/ 2335574 w 4671148"/>
              <a:gd name="connsiteY23" fmla="*/ 3448847 h 3448847"/>
              <a:gd name="connsiteX24" fmla="*/ 2312290 w 4671148"/>
              <a:gd name="connsiteY24" fmla="*/ 3447671 h 3448847"/>
              <a:gd name="connsiteX25" fmla="*/ 2100256 w 4671148"/>
              <a:gd name="connsiteY25" fmla="*/ 3070797 h 3448847"/>
              <a:gd name="connsiteX26" fmla="*/ 2306993 w 4671148"/>
              <a:gd name="connsiteY26" fmla="*/ 2703337 h 3448847"/>
              <a:gd name="connsiteX27" fmla="*/ 2335574 w 4671148"/>
              <a:gd name="connsiteY27" fmla="*/ 2704780 h 3448847"/>
              <a:gd name="connsiteX28" fmla="*/ 3927081 w 4671148"/>
              <a:gd name="connsiteY28" fmla="*/ 1113273 h 3448847"/>
              <a:gd name="connsiteX29" fmla="*/ 3855530 w 4671148"/>
              <a:gd name="connsiteY29" fmla="*/ 640008 h 3448847"/>
              <a:gd name="connsiteX30" fmla="*/ 3818147 w 4671148"/>
              <a:gd name="connsiteY30" fmla="*/ 537869 h 3448847"/>
              <a:gd name="connsiteX31" fmla="*/ 3832057 w 4671148"/>
              <a:gd name="connsiteY31" fmla="*/ 564779 h 3448847"/>
              <a:gd name="connsiteX32" fmla="*/ 4265560 w 4671148"/>
              <a:gd name="connsiteY32" fmla="*/ 580132 h 3448847"/>
              <a:gd name="connsiteX33" fmla="*/ 4496534 w 4671148"/>
              <a:gd name="connsiteY33" fmla="*/ 228552 h 3448847"/>
              <a:gd name="connsiteX34" fmla="*/ 625183 w 4671148"/>
              <a:gd name="connsiteY34" fmla="*/ 160755 h 3448847"/>
              <a:gd name="connsiteX35" fmla="*/ 852039 w 4671148"/>
              <a:gd name="connsiteY35" fmla="*/ 530481 h 3448847"/>
              <a:gd name="connsiteX36" fmla="*/ 862742 w 4671148"/>
              <a:gd name="connsiteY36" fmla="*/ 511254 h 3448847"/>
              <a:gd name="connsiteX37" fmla="*/ 815618 w 4671148"/>
              <a:gd name="connsiteY37" fmla="*/ 640008 h 3448847"/>
              <a:gd name="connsiteX38" fmla="*/ 744067 w 4671148"/>
              <a:gd name="connsiteY38" fmla="*/ 1113273 h 3448847"/>
              <a:gd name="connsiteX39" fmla="*/ 2172852 w 4671148"/>
              <a:gd name="connsiteY39" fmla="*/ 2696563 h 3448847"/>
              <a:gd name="connsiteX40" fmla="*/ 2177176 w 4671148"/>
              <a:gd name="connsiteY40" fmla="*/ 2696782 h 3448847"/>
              <a:gd name="connsiteX41" fmla="*/ 1966751 w 4671148"/>
              <a:gd name="connsiteY41" fmla="*/ 3070797 h 3448847"/>
              <a:gd name="connsiteX42" fmla="*/ 2174881 w 4671148"/>
              <a:gd name="connsiteY42" fmla="*/ 3440733 h 3448847"/>
              <a:gd name="connsiteX43" fmla="*/ 2096775 w 4671148"/>
              <a:gd name="connsiteY43" fmla="*/ 3436789 h 3448847"/>
              <a:gd name="connsiteX44" fmla="*/ 0 w 4671148"/>
              <a:gd name="connsiteY44" fmla="*/ 1113273 h 3448847"/>
              <a:gd name="connsiteX45" fmla="*/ 183541 w 4671148"/>
              <a:gd name="connsiteY45" fmla="*/ 204162 h 3448847"/>
              <a:gd name="connsiteX46" fmla="*/ 203538 w 4671148"/>
              <a:gd name="connsiteY46" fmla="*/ 162651 h 3448847"/>
              <a:gd name="connsiteX47" fmla="*/ 625183 w 4671148"/>
              <a:gd name="connsiteY47" fmla="*/ 160755 h 3448847"/>
              <a:gd name="connsiteX48" fmla="*/ 4442430 w 4671148"/>
              <a:gd name="connsiteY48" fmla="*/ 98995 h 3448847"/>
              <a:gd name="connsiteX49" fmla="*/ 4503733 w 4671148"/>
              <a:gd name="connsiteY49" fmla="*/ 217593 h 3448847"/>
              <a:gd name="connsiteX50" fmla="*/ 4496534 w 4671148"/>
              <a:gd name="connsiteY50" fmla="*/ 228552 h 3448847"/>
              <a:gd name="connsiteX51" fmla="*/ 4487607 w 4671148"/>
              <a:gd name="connsiteY51" fmla="*/ 204162 h 3448847"/>
              <a:gd name="connsiteX52" fmla="*/ 4439266 w 4671148"/>
              <a:gd name="connsiteY52" fmla="*/ 103812 h 3448847"/>
              <a:gd name="connsiteX53" fmla="*/ 4442430 w 4671148"/>
              <a:gd name="connsiteY53" fmla="*/ 98995 h 3448847"/>
              <a:gd name="connsiteX54" fmla="*/ 259711 w 4671148"/>
              <a:gd name="connsiteY54" fmla="*/ 46043 h 3448847"/>
              <a:gd name="connsiteX55" fmla="*/ 203538 w 4671148"/>
              <a:gd name="connsiteY55" fmla="*/ 162651 h 3448847"/>
              <a:gd name="connsiteX56" fmla="*/ 191412 w 4671148"/>
              <a:gd name="connsiteY56" fmla="*/ 162705 h 3448847"/>
              <a:gd name="connsiteX57" fmla="*/ 256350 w 4671148"/>
              <a:gd name="connsiteY57" fmla="*/ 46058 h 3448847"/>
              <a:gd name="connsiteX58" fmla="*/ 259711 w 4671148"/>
              <a:gd name="connsiteY58" fmla="*/ 46043 h 3448847"/>
              <a:gd name="connsiteX59" fmla="*/ 281891 w 4671148"/>
              <a:gd name="connsiteY59" fmla="*/ 0 h 3448847"/>
              <a:gd name="connsiteX60" fmla="*/ 936154 w 4671148"/>
              <a:gd name="connsiteY60" fmla="*/ 354666 h 3448847"/>
              <a:gd name="connsiteX61" fmla="*/ 911753 w 4671148"/>
              <a:gd name="connsiteY61" fmla="*/ 405319 h 3448847"/>
              <a:gd name="connsiteX62" fmla="*/ 690121 w 4671148"/>
              <a:gd name="connsiteY62" fmla="*/ 44107 h 3448847"/>
              <a:gd name="connsiteX63" fmla="*/ 259711 w 4671148"/>
              <a:gd name="connsiteY63" fmla="*/ 46043 h 3448847"/>
              <a:gd name="connsiteX64" fmla="*/ 281891 w 4671148"/>
              <a:gd name="connsiteY64" fmla="*/ 0 h 3448847"/>
              <a:gd name="connsiteX0" fmla="*/ 2174881 w 4671148"/>
              <a:gd name="connsiteY0" fmla="*/ 3440733 h 3448847"/>
              <a:gd name="connsiteX1" fmla="*/ 2312290 w 4671148"/>
              <a:gd name="connsiteY1" fmla="*/ 3447671 h 3448847"/>
              <a:gd name="connsiteX2" fmla="*/ 2312951 w 4671148"/>
              <a:gd name="connsiteY2" fmla="*/ 3448847 h 3448847"/>
              <a:gd name="connsiteX3" fmla="*/ 2179446 w 4671148"/>
              <a:gd name="connsiteY3" fmla="*/ 3448847 h 3448847"/>
              <a:gd name="connsiteX4" fmla="*/ 2174881 w 4671148"/>
              <a:gd name="connsiteY4" fmla="*/ 3440733 h 3448847"/>
              <a:gd name="connsiteX5" fmla="*/ 2179446 w 4671148"/>
              <a:gd name="connsiteY5" fmla="*/ 2692747 h 3448847"/>
              <a:gd name="connsiteX6" fmla="*/ 2312951 w 4671148"/>
              <a:gd name="connsiteY6" fmla="*/ 2692747 h 3448847"/>
              <a:gd name="connsiteX7" fmla="*/ 2306993 w 4671148"/>
              <a:gd name="connsiteY7" fmla="*/ 2703337 h 3448847"/>
              <a:gd name="connsiteX8" fmla="*/ 2177176 w 4671148"/>
              <a:gd name="connsiteY8" fmla="*/ 2696782 h 3448847"/>
              <a:gd name="connsiteX9" fmla="*/ 2179446 w 4671148"/>
              <a:gd name="connsiteY9" fmla="*/ 2692747 h 3448847"/>
              <a:gd name="connsiteX10" fmla="*/ 3770754 w 4671148"/>
              <a:gd name="connsiteY10" fmla="*/ 446181 h 3448847"/>
              <a:gd name="connsiteX11" fmla="*/ 3779224 w 4671148"/>
              <a:gd name="connsiteY11" fmla="*/ 446481 h 3448847"/>
              <a:gd name="connsiteX12" fmla="*/ 3802013 w 4671148"/>
              <a:gd name="connsiteY12" fmla="*/ 493787 h 3448847"/>
              <a:gd name="connsiteX13" fmla="*/ 3818147 w 4671148"/>
              <a:gd name="connsiteY13" fmla="*/ 537869 h 3448847"/>
              <a:gd name="connsiteX14" fmla="*/ 3770754 w 4671148"/>
              <a:gd name="connsiteY14" fmla="*/ 446181 h 3448847"/>
              <a:gd name="connsiteX15" fmla="*/ 911753 w 4671148"/>
              <a:gd name="connsiteY15" fmla="*/ 405319 h 3448847"/>
              <a:gd name="connsiteX16" fmla="*/ 916978 w 4671148"/>
              <a:gd name="connsiteY16" fmla="*/ 413833 h 3448847"/>
              <a:gd name="connsiteX17" fmla="*/ 862742 w 4671148"/>
              <a:gd name="connsiteY17" fmla="*/ 511254 h 3448847"/>
              <a:gd name="connsiteX18" fmla="*/ 869136 w 4671148"/>
              <a:gd name="connsiteY18" fmla="*/ 493787 h 3448847"/>
              <a:gd name="connsiteX19" fmla="*/ 911753 w 4671148"/>
              <a:gd name="connsiteY19" fmla="*/ 405319 h 3448847"/>
              <a:gd name="connsiteX20" fmla="*/ 4496534 w 4671148"/>
              <a:gd name="connsiteY20" fmla="*/ 228552 h 3448847"/>
              <a:gd name="connsiteX21" fmla="*/ 4566145 w 4671148"/>
              <a:gd name="connsiteY21" fmla="*/ 418745 h 3448847"/>
              <a:gd name="connsiteX22" fmla="*/ 4671148 w 4671148"/>
              <a:gd name="connsiteY22" fmla="*/ 1113273 h 3448847"/>
              <a:gd name="connsiteX23" fmla="*/ 2335574 w 4671148"/>
              <a:gd name="connsiteY23" fmla="*/ 3448847 h 3448847"/>
              <a:gd name="connsiteX24" fmla="*/ 2312290 w 4671148"/>
              <a:gd name="connsiteY24" fmla="*/ 3447671 h 3448847"/>
              <a:gd name="connsiteX25" fmla="*/ 2100256 w 4671148"/>
              <a:gd name="connsiteY25" fmla="*/ 3070797 h 3448847"/>
              <a:gd name="connsiteX26" fmla="*/ 2306993 w 4671148"/>
              <a:gd name="connsiteY26" fmla="*/ 2703337 h 3448847"/>
              <a:gd name="connsiteX27" fmla="*/ 2335574 w 4671148"/>
              <a:gd name="connsiteY27" fmla="*/ 2704780 h 3448847"/>
              <a:gd name="connsiteX28" fmla="*/ 3927081 w 4671148"/>
              <a:gd name="connsiteY28" fmla="*/ 1113273 h 3448847"/>
              <a:gd name="connsiteX29" fmla="*/ 3855530 w 4671148"/>
              <a:gd name="connsiteY29" fmla="*/ 640008 h 3448847"/>
              <a:gd name="connsiteX30" fmla="*/ 3818147 w 4671148"/>
              <a:gd name="connsiteY30" fmla="*/ 537869 h 3448847"/>
              <a:gd name="connsiteX31" fmla="*/ 3832057 w 4671148"/>
              <a:gd name="connsiteY31" fmla="*/ 564779 h 3448847"/>
              <a:gd name="connsiteX32" fmla="*/ 4265560 w 4671148"/>
              <a:gd name="connsiteY32" fmla="*/ 580132 h 3448847"/>
              <a:gd name="connsiteX33" fmla="*/ 4496534 w 4671148"/>
              <a:gd name="connsiteY33" fmla="*/ 228552 h 3448847"/>
              <a:gd name="connsiteX34" fmla="*/ 625183 w 4671148"/>
              <a:gd name="connsiteY34" fmla="*/ 160755 h 3448847"/>
              <a:gd name="connsiteX35" fmla="*/ 852039 w 4671148"/>
              <a:gd name="connsiteY35" fmla="*/ 530481 h 3448847"/>
              <a:gd name="connsiteX36" fmla="*/ 862742 w 4671148"/>
              <a:gd name="connsiteY36" fmla="*/ 511254 h 3448847"/>
              <a:gd name="connsiteX37" fmla="*/ 815618 w 4671148"/>
              <a:gd name="connsiteY37" fmla="*/ 640008 h 3448847"/>
              <a:gd name="connsiteX38" fmla="*/ 744067 w 4671148"/>
              <a:gd name="connsiteY38" fmla="*/ 1113273 h 3448847"/>
              <a:gd name="connsiteX39" fmla="*/ 2172852 w 4671148"/>
              <a:gd name="connsiteY39" fmla="*/ 2696563 h 3448847"/>
              <a:gd name="connsiteX40" fmla="*/ 2177176 w 4671148"/>
              <a:gd name="connsiteY40" fmla="*/ 2696782 h 3448847"/>
              <a:gd name="connsiteX41" fmla="*/ 1966751 w 4671148"/>
              <a:gd name="connsiteY41" fmla="*/ 3070797 h 3448847"/>
              <a:gd name="connsiteX42" fmla="*/ 2174881 w 4671148"/>
              <a:gd name="connsiteY42" fmla="*/ 3440733 h 3448847"/>
              <a:gd name="connsiteX43" fmla="*/ 2096775 w 4671148"/>
              <a:gd name="connsiteY43" fmla="*/ 3436789 h 3448847"/>
              <a:gd name="connsiteX44" fmla="*/ 0 w 4671148"/>
              <a:gd name="connsiteY44" fmla="*/ 1113273 h 3448847"/>
              <a:gd name="connsiteX45" fmla="*/ 183541 w 4671148"/>
              <a:gd name="connsiteY45" fmla="*/ 204162 h 3448847"/>
              <a:gd name="connsiteX46" fmla="*/ 203538 w 4671148"/>
              <a:gd name="connsiteY46" fmla="*/ 162651 h 3448847"/>
              <a:gd name="connsiteX47" fmla="*/ 625183 w 4671148"/>
              <a:gd name="connsiteY47" fmla="*/ 160755 h 3448847"/>
              <a:gd name="connsiteX48" fmla="*/ 4442430 w 4671148"/>
              <a:gd name="connsiteY48" fmla="*/ 98995 h 3448847"/>
              <a:gd name="connsiteX49" fmla="*/ 4503733 w 4671148"/>
              <a:gd name="connsiteY49" fmla="*/ 217593 h 3448847"/>
              <a:gd name="connsiteX50" fmla="*/ 4496534 w 4671148"/>
              <a:gd name="connsiteY50" fmla="*/ 228552 h 3448847"/>
              <a:gd name="connsiteX51" fmla="*/ 4487607 w 4671148"/>
              <a:gd name="connsiteY51" fmla="*/ 204162 h 3448847"/>
              <a:gd name="connsiteX52" fmla="*/ 4439266 w 4671148"/>
              <a:gd name="connsiteY52" fmla="*/ 103812 h 3448847"/>
              <a:gd name="connsiteX53" fmla="*/ 4442430 w 4671148"/>
              <a:gd name="connsiteY53" fmla="*/ 98995 h 3448847"/>
              <a:gd name="connsiteX54" fmla="*/ 259711 w 4671148"/>
              <a:gd name="connsiteY54" fmla="*/ 46043 h 3448847"/>
              <a:gd name="connsiteX55" fmla="*/ 203538 w 4671148"/>
              <a:gd name="connsiteY55" fmla="*/ 162651 h 3448847"/>
              <a:gd name="connsiteX56" fmla="*/ 191412 w 4671148"/>
              <a:gd name="connsiteY56" fmla="*/ 162705 h 3448847"/>
              <a:gd name="connsiteX57" fmla="*/ 256350 w 4671148"/>
              <a:gd name="connsiteY57" fmla="*/ 46058 h 3448847"/>
              <a:gd name="connsiteX58" fmla="*/ 259711 w 4671148"/>
              <a:gd name="connsiteY58" fmla="*/ 46043 h 3448847"/>
              <a:gd name="connsiteX59" fmla="*/ 281891 w 4671148"/>
              <a:gd name="connsiteY59" fmla="*/ 0 h 3448847"/>
              <a:gd name="connsiteX60" fmla="*/ 936154 w 4671148"/>
              <a:gd name="connsiteY60" fmla="*/ 354666 h 3448847"/>
              <a:gd name="connsiteX61" fmla="*/ 911753 w 4671148"/>
              <a:gd name="connsiteY61" fmla="*/ 405319 h 3448847"/>
              <a:gd name="connsiteX62" fmla="*/ 259711 w 4671148"/>
              <a:gd name="connsiteY62" fmla="*/ 46043 h 3448847"/>
              <a:gd name="connsiteX63" fmla="*/ 281891 w 4671148"/>
              <a:gd name="connsiteY63" fmla="*/ 0 h 3448847"/>
              <a:gd name="connsiteX0" fmla="*/ 2174881 w 4671148"/>
              <a:gd name="connsiteY0" fmla="*/ 3440733 h 3448847"/>
              <a:gd name="connsiteX1" fmla="*/ 2312290 w 4671148"/>
              <a:gd name="connsiteY1" fmla="*/ 3447671 h 3448847"/>
              <a:gd name="connsiteX2" fmla="*/ 2312951 w 4671148"/>
              <a:gd name="connsiteY2" fmla="*/ 3448847 h 3448847"/>
              <a:gd name="connsiteX3" fmla="*/ 2179446 w 4671148"/>
              <a:gd name="connsiteY3" fmla="*/ 3448847 h 3448847"/>
              <a:gd name="connsiteX4" fmla="*/ 2174881 w 4671148"/>
              <a:gd name="connsiteY4" fmla="*/ 3440733 h 3448847"/>
              <a:gd name="connsiteX5" fmla="*/ 2179446 w 4671148"/>
              <a:gd name="connsiteY5" fmla="*/ 2692747 h 3448847"/>
              <a:gd name="connsiteX6" fmla="*/ 2312951 w 4671148"/>
              <a:gd name="connsiteY6" fmla="*/ 2692747 h 3448847"/>
              <a:gd name="connsiteX7" fmla="*/ 2306993 w 4671148"/>
              <a:gd name="connsiteY7" fmla="*/ 2703337 h 3448847"/>
              <a:gd name="connsiteX8" fmla="*/ 2177176 w 4671148"/>
              <a:gd name="connsiteY8" fmla="*/ 2696782 h 3448847"/>
              <a:gd name="connsiteX9" fmla="*/ 2179446 w 4671148"/>
              <a:gd name="connsiteY9" fmla="*/ 2692747 h 3448847"/>
              <a:gd name="connsiteX10" fmla="*/ 3770754 w 4671148"/>
              <a:gd name="connsiteY10" fmla="*/ 446181 h 3448847"/>
              <a:gd name="connsiteX11" fmla="*/ 3779224 w 4671148"/>
              <a:gd name="connsiteY11" fmla="*/ 446481 h 3448847"/>
              <a:gd name="connsiteX12" fmla="*/ 3802013 w 4671148"/>
              <a:gd name="connsiteY12" fmla="*/ 493787 h 3448847"/>
              <a:gd name="connsiteX13" fmla="*/ 3818147 w 4671148"/>
              <a:gd name="connsiteY13" fmla="*/ 537869 h 3448847"/>
              <a:gd name="connsiteX14" fmla="*/ 3770754 w 4671148"/>
              <a:gd name="connsiteY14" fmla="*/ 446181 h 3448847"/>
              <a:gd name="connsiteX15" fmla="*/ 911753 w 4671148"/>
              <a:gd name="connsiteY15" fmla="*/ 405319 h 3448847"/>
              <a:gd name="connsiteX16" fmla="*/ 916978 w 4671148"/>
              <a:gd name="connsiteY16" fmla="*/ 413833 h 3448847"/>
              <a:gd name="connsiteX17" fmla="*/ 862742 w 4671148"/>
              <a:gd name="connsiteY17" fmla="*/ 511254 h 3448847"/>
              <a:gd name="connsiteX18" fmla="*/ 869136 w 4671148"/>
              <a:gd name="connsiteY18" fmla="*/ 493787 h 3448847"/>
              <a:gd name="connsiteX19" fmla="*/ 911753 w 4671148"/>
              <a:gd name="connsiteY19" fmla="*/ 405319 h 3448847"/>
              <a:gd name="connsiteX20" fmla="*/ 4496534 w 4671148"/>
              <a:gd name="connsiteY20" fmla="*/ 228552 h 3448847"/>
              <a:gd name="connsiteX21" fmla="*/ 4566145 w 4671148"/>
              <a:gd name="connsiteY21" fmla="*/ 418745 h 3448847"/>
              <a:gd name="connsiteX22" fmla="*/ 4671148 w 4671148"/>
              <a:gd name="connsiteY22" fmla="*/ 1113273 h 3448847"/>
              <a:gd name="connsiteX23" fmla="*/ 2335574 w 4671148"/>
              <a:gd name="connsiteY23" fmla="*/ 3448847 h 3448847"/>
              <a:gd name="connsiteX24" fmla="*/ 2312290 w 4671148"/>
              <a:gd name="connsiteY24" fmla="*/ 3447671 h 3448847"/>
              <a:gd name="connsiteX25" fmla="*/ 2100256 w 4671148"/>
              <a:gd name="connsiteY25" fmla="*/ 3070797 h 3448847"/>
              <a:gd name="connsiteX26" fmla="*/ 2306993 w 4671148"/>
              <a:gd name="connsiteY26" fmla="*/ 2703337 h 3448847"/>
              <a:gd name="connsiteX27" fmla="*/ 2335574 w 4671148"/>
              <a:gd name="connsiteY27" fmla="*/ 2704780 h 3448847"/>
              <a:gd name="connsiteX28" fmla="*/ 3927081 w 4671148"/>
              <a:gd name="connsiteY28" fmla="*/ 1113273 h 3448847"/>
              <a:gd name="connsiteX29" fmla="*/ 3855530 w 4671148"/>
              <a:gd name="connsiteY29" fmla="*/ 640008 h 3448847"/>
              <a:gd name="connsiteX30" fmla="*/ 3818147 w 4671148"/>
              <a:gd name="connsiteY30" fmla="*/ 537869 h 3448847"/>
              <a:gd name="connsiteX31" fmla="*/ 3832057 w 4671148"/>
              <a:gd name="connsiteY31" fmla="*/ 564779 h 3448847"/>
              <a:gd name="connsiteX32" fmla="*/ 4265560 w 4671148"/>
              <a:gd name="connsiteY32" fmla="*/ 580132 h 3448847"/>
              <a:gd name="connsiteX33" fmla="*/ 4496534 w 4671148"/>
              <a:gd name="connsiteY33" fmla="*/ 228552 h 3448847"/>
              <a:gd name="connsiteX34" fmla="*/ 625183 w 4671148"/>
              <a:gd name="connsiteY34" fmla="*/ 160755 h 3448847"/>
              <a:gd name="connsiteX35" fmla="*/ 852039 w 4671148"/>
              <a:gd name="connsiteY35" fmla="*/ 530481 h 3448847"/>
              <a:gd name="connsiteX36" fmla="*/ 862742 w 4671148"/>
              <a:gd name="connsiteY36" fmla="*/ 511254 h 3448847"/>
              <a:gd name="connsiteX37" fmla="*/ 815618 w 4671148"/>
              <a:gd name="connsiteY37" fmla="*/ 640008 h 3448847"/>
              <a:gd name="connsiteX38" fmla="*/ 744067 w 4671148"/>
              <a:gd name="connsiteY38" fmla="*/ 1113273 h 3448847"/>
              <a:gd name="connsiteX39" fmla="*/ 2172852 w 4671148"/>
              <a:gd name="connsiteY39" fmla="*/ 2696563 h 3448847"/>
              <a:gd name="connsiteX40" fmla="*/ 2177176 w 4671148"/>
              <a:gd name="connsiteY40" fmla="*/ 2696782 h 3448847"/>
              <a:gd name="connsiteX41" fmla="*/ 1966751 w 4671148"/>
              <a:gd name="connsiteY41" fmla="*/ 3070797 h 3448847"/>
              <a:gd name="connsiteX42" fmla="*/ 2174881 w 4671148"/>
              <a:gd name="connsiteY42" fmla="*/ 3440733 h 3448847"/>
              <a:gd name="connsiteX43" fmla="*/ 2096775 w 4671148"/>
              <a:gd name="connsiteY43" fmla="*/ 3436789 h 3448847"/>
              <a:gd name="connsiteX44" fmla="*/ 0 w 4671148"/>
              <a:gd name="connsiteY44" fmla="*/ 1113273 h 3448847"/>
              <a:gd name="connsiteX45" fmla="*/ 183541 w 4671148"/>
              <a:gd name="connsiteY45" fmla="*/ 204162 h 3448847"/>
              <a:gd name="connsiteX46" fmla="*/ 203538 w 4671148"/>
              <a:gd name="connsiteY46" fmla="*/ 162651 h 3448847"/>
              <a:gd name="connsiteX47" fmla="*/ 625183 w 4671148"/>
              <a:gd name="connsiteY47" fmla="*/ 160755 h 3448847"/>
              <a:gd name="connsiteX48" fmla="*/ 4442430 w 4671148"/>
              <a:gd name="connsiteY48" fmla="*/ 98995 h 3448847"/>
              <a:gd name="connsiteX49" fmla="*/ 4503733 w 4671148"/>
              <a:gd name="connsiteY49" fmla="*/ 217593 h 3448847"/>
              <a:gd name="connsiteX50" fmla="*/ 4496534 w 4671148"/>
              <a:gd name="connsiteY50" fmla="*/ 228552 h 3448847"/>
              <a:gd name="connsiteX51" fmla="*/ 4487607 w 4671148"/>
              <a:gd name="connsiteY51" fmla="*/ 204162 h 3448847"/>
              <a:gd name="connsiteX52" fmla="*/ 4439266 w 4671148"/>
              <a:gd name="connsiteY52" fmla="*/ 103812 h 3448847"/>
              <a:gd name="connsiteX53" fmla="*/ 4442430 w 4671148"/>
              <a:gd name="connsiteY53" fmla="*/ 98995 h 3448847"/>
              <a:gd name="connsiteX54" fmla="*/ 259711 w 4671148"/>
              <a:gd name="connsiteY54" fmla="*/ 46043 h 3448847"/>
              <a:gd name="connsiteX55" fmla="*/ 203538 w 4671148"/>
              <a:gd name="connsiteY55" fmla="*/ 162651 h 3448847"/>
              <a:gd name="connsiteX56" fmla="*/ 191412 w 4671148"/>
              <a:gd name="connsiteY56" fmla="*/ 162705 h 3448847"/>
              <a:gd name="connsiteX57" fmla="*/ 256350 w 4671148"/>
              <a:gd name="connsiteY57" fmla="*/ 46058 h 3448847"/>
              <a:gd name="connsiteX58" fmla="*/ 259711 w 4671148"/>
              <a:gd name="connsiteY58" fmla="*/ 46043 h 3448847"/>
              <a:gd name="connsiteX59" fmla="*/ 281891 w 4671148"/>
              <a:gd name="connsiteY59" fmla="*/ 0 h 3448847"/>
              <a:gd name="connsiteX60" fmla="*/ 911753 w 4671148"/>
              <a:gd name="connsiteY60" fmla="*/ 405319 h 3448847"/>
              <a:gd name="connsiteX61" fmla="*/ 259711 w 4671148"/>
              <a:gd name="connsiteY61" fmla="*/ 46043 h 3448847"/>
              <a:gd name="connsiteX62" fmla="*/ 281891 w 4671148"/>
              <a:gd name="connsiteY62" fmla="*/ 0 h 3448847"/>
              <a:gd name="connsiteX0" fmla="*/ 2174881 w 4671148"/>
              <a:gd name="connsiteY0" fmla="*/ 3440733 h 3448847"/>
              <a:gd name="connsiteX1" fmla="*/ 2312290 w 4671148"/>
              <a:gd name="connsiteY1" fmla="*/ 3447671 h 3448847"/>
              <a:gd name="connsiteX2" fmla="*/ 2312951 w 4671148"/>
              <a:gd name="connsiteY2" fmla="*/ 3448847 h 3448847"/>
              <a:gd name="connsiteX3" fmla="*/ 2179446 w 4671148"/>
              <a:gd name="connsiteY3" fmla="*/ 3448847 h 3448847"/>
              <a:gd name="connsiteX4" fmla="*/ 2174881 w 4671148"/>
              <a:gd name="connsiteY4" fmla="*/ 3440733 h 3448847"/>
              <a:gd name="connsiteX5" fmla="*/ 2179446 w 4671148"/>
              <a:gd name="connsiteY5" fmla="*/ 2692747 h 3448847"/>
              <a:gd name="connsiteX6" fmla="*/ 2312951 w 4671148"/>
              <a:gd name="connsiteY6" fmla="*/ 2692747 h 3448847"/>
              <a:gd name="connsiteX7" fmla="*/ 2306993 w 4671148"/>
              <a:gd name="connsiteY7" fmla="*/ 2703337 h 3448847"/>
              <a:gd name="connsiteX8" fmla="*/ 2177176 w 4671148"/>
              <a:gd name="connsiteY8" fmla="*/ 2696782 h 3448847"/>
              <a:gd name="connsiteX9" fmla="*/ 2179446 w 4671148"/>
              <a:gd name="connsiteY9" fmla="*/ 2692747 h 3448847"/>
              <a:gd name="connsiteX10" fmla="*/ 3770754 w 4671148"/>
              <a:gd name="connsiteY10" fmla="*/ 446181 h 3448847"/>
              <a:gd name="connsiteX11" fmla="*/ 3779224 w 4671148"/>
              <a:gd name="connsiteY11" fmla="*/ 446481 h 3448847"/>
              <a:gd name="connsiteX12" fmla="*/ 3802013 w 4671148"/>
              <a:gd name="connsiteY12" fmla="*/ 493787 h 3448847"/>
              <a:gd name="connsiteX13" fmla="*/ 3818147 w 4671148"/>
              <a:gd name="connsiteY13" fmla="*/ 537869 h 3448847"/>
              <a:gd name="connsiteX14" fmla="*/ 3770754 w 4671148"/>
              <a:gd name="connsiteY14" fmla="*/ 446181 h 3448847"/>
              <a:gd name="connsiteX15" fmla="*/ 911753 w 4671148"/>
              <a:gd name="connsiteY15" fmla="*/ 405319 h 3448847"/>
              <a:gd name="connsiteX16" fmla="*/ 916978 w 4671148"/>
              <a:gd name="connsiteY16" fmla="*/ 413833 h 3448847"/>
              <a:gd name="connsiteX17" fmla="*/ 862742 w 4671148"/>
              <a:gd name="connsiteY17" fmla="*/ 511254 h 3448847"/>
              <a:gd name="connsiteX18" fmla="*/ 869136 w 4671148"/>
              <a:gd name="connsiteY18" fmla="*/ 493787 h 3448847"/>
              <a:gd name="connsiteX19" fmla="*/ 911753 w 4671148"/>
              <a:gd name="connsiteY19" fmla="*/ 405319 h 3448847"/>
              <a:gd name="connsiteX20" fmla="*/ 4496534 w 4671148"/>
              <a:gd name="connsiteY20" fmla="*/ 228552 h 3448847"/>
              <a:gd name="connsiteX21" fmla="*/ 4566145 w 4671148"/>
              <a:gd name="connsiteY21" fmla="*/ 418745 h 3448847"/>
              <a:gd name="connsiteX22" fmla="*/ 4671148 w 4671148"/>
              <a:gd name="connsiteY22" fmla="*/ 1113273 h 3448847"/>
              <a:gd name="connsiteX23" fmla="*/ 2335574 w 4671148"/>
              <a:gd name="connsiteY23" fmla="*/ 3448847 h 3448847"/>
              <a:gd name="connsiteX24" fmla="*/ 2312290 w 4671148"/>
              <a:gd name="connsiteY24" fmla="*/ 3447671 h 3448847"/>
              <a:gd name="connsiteX25" fmla="*/ 2100256 w 4671148"/>
              <a:gd name="connsiteY25" fmla="*/ 3070797 h 3448847"/>
              <a:gd name="connsiteX26" fmla="*/ 2306993 w 4671148"/>
              <a:gd name="connsiteY26" fmla="*/ 2703337 h 3448847"/>
              <a:gd name="connsiteX27" fmla="*/ 2335574 w 4671148"/>
              <a:gd name="connsiteY27" fmla="*/ 2704780 h 3448847"/>
              <a:gd name="connsiteX28" fmla="*/ 3927081 w 4671148"/>
              <a:gd name="connsiteY28" fmla="*/ 1113273 h 3448847"/>
              <a:gd name="connsiteX29" fmla="*/ 3855530 w 4671148"/>
              <a:gd name="connsiteY29" fmla="*/ 640008 h 3448847"/>
              <a:gd name="connsiteX30" fmla="*/ 3818147 w 4671148"/>
              <a:gd name="connsiteY30" fmla="*/ 537869 h 3448847"/>
              <a:gd name="connsiteX31" fmla="*/ 3832057 w 4671148"/>
              <a:gd name="connsiteY31" fmla="*/ 564779 h 3448847"/>
              <a:gd name="connsiteX32" fmla="*/ 4265560 w 4671148"/>
              <a:gd name="connsiteY32" fmla="*/ 580132 h 3448847"/>
              <a:gd name="connsiteX33" fmla="*/ 4496534 w 4671148"/>
              <a:gd name="connsiteY33" fmla="*/ 228552 h 3448847"/>
              <a:gd name="connsiteX34" fmla="*/ 625183 w 4671148"/>
              <a:gd name="connsiteY34" fmla="*/ 160755 h 3448847"/>
              <a:gd name="connsiteX35" fmla="*/ 852039 w 4671148"/>
              <a:gd name="connsiteY35" fmla="*/ 530481 h 3448847"/>
              <a:gd name="connsiteX36" fmla="*/ 862742 w 4671148"/>
              <a:gd name="connsiteY36" fmla="*/ 511254 h 3448847"/>
              <a:gd name="connsiteX37" fmla="*/ 815618 w 4671148"/>
              <a:gd name="connsiteY37" fmla="*/ 640008 h 3448847"/>
              <a:gd name="connsiteX38" fmla="*/ 744067 w 4671148"/>
              <a:gd name="connsiteY38" fmla="*/ 1113273 h 3448847"/>
              <a:gd name="connsiteX39" fmla="*/ 2172852 w 4671148"/>
              <a:gd name="connsiteY39" fmla="*/ 2696563 h 3448847"/>
              <a:gd name="connsiteX40" fmla="*/ 2177176 w 4671148"/>
              <a:gd name="connsiteY40" fmla="*/ 2696782 h 3448847"/>
              <a:gd name="connsiteX41" fmla="*/ 1966751 w 4671148"/>
              <a:gd name="connsiteY41" fmla="*/ 3070797 h 3448847"/>
              <a:gd name="connsiteX42" fmla="*/ 2174881 w 4671148"/>
              <a:gd name="connsiteY42" fmla="*/ 3440733 h 3448847"/>
              <a:gd name="connsiteX43" fmla="*/ 2096775 w 4671148"/>
              <a:gd name="connsiteY43" fmla="*/ 3436789 h 3448847"/>
              <a:gd name="connsiteX44" fmla="*/ 0 w 4671148"/>
              <a:gd name="connsiteY44" fmla="*/ 1113273 h 3448847"/>
              <a:gd name="connsiteX45" fmla="*/ 183541 w 4671148"/>
              <a:gd name="connsiteY45" fmla="*/ 204162 h 3448847"/>
              <a:gd name="connsiteX46" fmla="*/ 203538 w 4671148"/>
              <a:gd name="connsiteY46" fmla="*/ 162651 h 3448847"/>
              <a:gd name="connsiteX47" fmla="*/ 625183 w 4671148"/>
              <a:gd name="connsiteY47" fmla="*/ 160755 h 3448847"/>
              <a:gd name="connsiteX48" fmla="*/ 4442430 w 4671148"/>
              <a:gd name="connsiteY48" fmla="*/ 98995 h 3448847"/>
              <a:gd name="connsiteX49" fmla="*/ 4503733 w 4671148"/>
              <a:gd name="connsiteY49" fmla="*/ 217593 h 3448847"/>
              <a:gd name="connsiteX50" fmla="*/ 4496534 w 4671148"/>
              <a:gd name="connsiteY50" fmla="*/ 228552 h 3448847"/>
              <a:gd name="connsiteX51" fmla="*/ 4487607 w 4671148"/>
              <a:gd name="connsiteY51" fmla="*/ 204162 h 3448847"/>
              <a:gd name="connsiteX52" fmla="*/ 4439266 w 4671148"/>
              <a:gd name="connsiteY52" fmla="*/ 103812 h 3448847"/>
              <a:gd name="connsiteX53" fmla="*/ 4442430 w 4671148"/>
              <a:gd name="connsiteY53" fmla="*/ 98995 h 3448847"/>
              <a:gd name="connsiteX54" fmla="*/ 259711 w 4671148"/>
              <a:gd name="connsiteY54" fmla="*/ 46043 h 3448847"/>
              <a:gd name="connsiteX55" fmla="*/ 203538 w 4671148"/>
              <a:gd name="connsiteY55" fmla="*/ 162651 h 3448847"/>
              <a:gd name="connsiteX56" fmla="*/ 191412 w 4671148"/>
              <a:gd name="connsiteY56" fmla="*/ 162705 h 3448847"/>
              <a:gd name="connsiteX57" fmla="*/ 256350 w 4671148"/>
              <a:gd name="connsiteY57" fmla="*/ 46058 h 3448847"/>
              <a:gd name="connsiteX58" fmla="*/ 259711 w 4671148"/>
              <a:gd name="connsiteY58" fmla="*/ 46043 h 3448847"/>
              <a:gd name="connsiteX59" fmla="*/ 281891 w 4671148"/>
              <a:gd name="connsiteY59" fmla="*/ 0 h 3448847"/>
              <a:gd name="connsiteX60" fmla="*/ 259711 w 4671148"/>
              <a:gd name="connsiteY60" fmla="*/ 46043 h 3448847"/>
              <a:gd name="connsiteX61" fmla="*/ 281891 w 4671148"/>
              <a:gd name="connsiteY61" fmla="*/ 0 h 3448847"/>
              <a:gd name="connsiteX0" fmla="*/ 2174881 w 4671148"/>
              <a:gd name="connsiteY0" fmla="*/ 3394690 h 3402804"/>
              <a:gd name="connsiteX1" fmla="*/ 2312290 w 4671148"/>
              <a:gd name="connsiteY1" fmla="*/ 3401628 h 3402804"/>
              <a:gd name="connsiteX2" fmla="*/ 2312951 w 4671148"/>
              <a:gd name="connsiteY2" fmla="*/ 3402804 h 3402804"/>
              <a:gd name="connsiteX3" fmla="*/ 2179446 w 4671148"/>
              <a:gd name="connsiteY3" fmla="*/ 3402804 h 3402804"/>
              <a:gd name="connsiteX4" fmla="*/ 2174881 w 4671148"/>
              <a:gd name="connsiteY4" fmla="*/ 3394690 h 3402804"/>
              <a:gd name="connsiteX5" fmla="*/ 2179446 w 4671148"/>
              <a:gd name="connsiteY5" fmla="*/ 2646704 h 3402804"/>
              <a:gd name="connsiteX6" fmla="*/ 2312951 w 4671148"/>
              <a:gd name="connsiteY6" fmla="*/ 2646704 h 3402804"/>
              <a:gd name="connsiteX7" fmla="*/ 2306993 w 4671148"/>
              <a:gd name="connsiteY7" fmla="*/ 2657294 h 3402804"/>
              <a:gd name="connsiteX8" fmla="*/ 2177176 w 4671148"/>
              <a:gd name="connsiteY8" fmla="*/ 2650739 h 3402804"/>
              <a:gd name="connsiteX9" fmla="*/ 2179446 w 4671148"/>
              <a:gd name="connsiteY9" fmla="*/ 2646704 h 3402804"/>
              <a:gd name="connsiteX10" fmla="*/ 3770754 w 4671148"/>
              <a:gd name="connsiteY10" fmla="*/ 400138 h 3402804"/>
              <a:gd name="connsiteX11" fmla="*/ 3779224 w 4671148"/>
              <a:gd name="connsiteY11" fmla="*/ 400438 h 3402804"/>
              <a:gd name="connsiteX12" fmla="*/ 3802013 w 4671148"/>
              <a:gd name="connsiteY12" fmla="*/ 447744 h 3402804"/>
              <a:gd name="connsiteX13" fmla="*/ 3818147 w 4671148"/>
              <a:gd name="connsiteY13" fmla="*/ 491826 h 3402804"/>
              <a:gd name="connsiteX14" fmla="*/ 3770754 w 4671148"/>
              <a:gd name="connsiteY14" fmla="*/ 400138 h 3402804"/>
              <a:gd name="connsiteX15" fmla="*/ 911753 w 4671148"/>
              <a:gd name="connsiteY15" fmla="*/ 359276 h 3402804"/>
              <a:gd name="connsiteX16" fmla="*/ 916978 w 4671148"/>
              <a:gd name="connsiteY16" fmla="*/ 367790 h 3402804"/>
              <a:gd name="connsiteX17" fmla="*/ 862742 w 4671148"/>
              <a:gd name="connsiteY17" fmla="*/ 465211 h 3402804"/>
              <a:gd name="connsiteX18" fmla="*/ 869136 w 4671148"/>
              <a:gd name="connsiteY18" fmla="*/ 447744 h 3402804"/>
              <a:gd name="connsiteX19" fmla="*/ 911753 w 4671148"/>
              <a:gd name="connsiteY19" fmla="*/ 359276 h 3402804"/>
              <a:gd name="connsiteX20" fmla="*/ 4496534 w 4671148"/>
              <a:gd name="connsiteY20" fmla="*/ 182509 h 3402804"/>
              <a:gd name="connsiteX21" fmla="*/ 4566145 w 4671148"/>
              <a:gd name="connsiteY21" fmla="*/ 372702 h 3402804"/>
              <a:gd name="connsiteX22" fmla="*/ 4671148 w 4671148"/>
              <a:gd name="connsiteY22" fmla="*/ 1067230 h 3402804"/>
              <a:gd name="connsiteX23" fmla="*/ 2335574 w 4671148"/>
              <a:gd name="connsiteY23" fmla="*/ 3402804 h 3402804"/>
              <a:gd name="connsiteX24" fmla="*/ 2312290 w 4671148"/>
              <a:gd name="connsiteY24" fmla="*/ 3401628 h 3402804"/>
              <a:gd name="connsiteX25" fmla="*/ 2100256 w 4671148"/>
              <a:gd name="connsiteY25" fmla="*/ 3024754 h 3402804"/>
              <a:gd name="connsiteX26" fmla="*/ 2306993 w 4671148"/>
              <a:gd name="connsiteY26" fmla="*/ 2657294 h 3402804"/>
              <a:gd name="connsiteX27" fmla="*/ 2335574 w 4671148"/>
              <a:gd name="connsiteY27" fmla="*/ 2658737 h 3402804"/>
              <a:gd name="connsiteX28" fmla="*/ 3927081 w 4671148"/>
              <a:gd name="connsiteY28" fmla="*/ 1067230 h 3402804"/>
              <a:gd name="connsiteX29" fmla="*/ 3855530 w 4671148"/>
              <a:gd name="connsiteY29" fmla="*/ 593965 h 3402804"/>
              <a:gd name="connsiteX30" fmla="*/ 3818147 w 4671148"/>
              <a:gd name="connsiteY30" fmla="*/ 491826 h 3402804"/>
              <a:gd name="connsiteX31" fmla="*/ 3832057 w 4671148"/>
              <a:gd name="connsiteY31" fmla="*/ 518736 h 3402804"/>
              <a:gd name="connsiteX32" fmla="*/ 4265560 w 4671148"/>
              <a:gd name="connsiteY32" fmla="*/ 534089 h 3402804"/>
              <a:gd name="connsiteX33" fmla="*/ 4496534 w 4671148"/>
              <a:gd name="connsiteY33" fmla="*/ 182509 h 3402804"/>
              <a:gd name="connsiteX34" fmla="*/ 625183 w 4671148"/>
              <a:gd name="connsiteY34" fmla="*/ 114712 h 3402804"/>
              <a:gd name="connsiteX35" fmla="*/ 852039 w 4671148"/>
              <a:gd name="connsiteY35" fmla="*/ 484438 h 3402804"/>
              <a:gd name="connsiteX36" fmla="*/ 862742 w 4671148"/>
              <a:gd name="connsiteY36" fmla="*/ 465211 h 3402804"/>
              <a:gd name="connsiteX37" fmla="*/ 815618 w 4671148"/>
              <a:gd name="connsiteY37" fmla="*/ 593965 h 3402804"/>
              <a:gd name="connsiteX38" fmla="*/ 744067 w 4671148"/>
              <a:gd name="connsiteY38" fmla="*/ 1067230 h 3402804"/>
              <a:gd name="connsiteX39" fmla="*/ 2172852 w 4671148"/>
              <a:gd name="connsiteY39" fmla="*/ 2650520 h 3402804"/>
              <a:gd name="connsiteX40" fmla="*/ 2177176 w 4671148"/>
              <a:gd name="connsiteY40" fmla="*/ 2650739 h 3402804"/>
              <a:gd name="connsiteX41" fmla="*/ 1966751 w 4671148"/>
              <a:gd name="connsiteY41" fmla="*/ 3024754 h 3402804"/>
              <a:gd name="connsiteX42" fmla="*/ 2174881 w 4671148"/>
              <a:gd name="connsiteY42" fmla="*/ 3394690 h 3402804"/>
              <a:gd name="connsiteX43" fmla="*/ 2096775 w 4671148"/>
              <a:gd name="connsiteY43" fmla="*/ 3390746 h 3402804"/>
              <a:gd name="connsiteX44" fmla="*/ 0 w 4671148"/>
              <a:gd name="connsiteY44" fmla="*/ 1067230 h 3402804"/>
              <a:gd name="connsiteX45" fmla="*/ 183541 w 4671148"/>
              <a:gd name="connsiteY45" fmla="*/ 158119 h 3402804"/>
              <a:gd name="connsiteX46" fmla="*/ 203538 w 4671148"/>
              <a:gd name="connsiteY46" fmla="*/ 116608 h 3402804"/>
              <a:gd name="connsiteX47" fmla="*/ 625183 w 4671148"/>
              <a:gd name="connsiteY47" fmla="*/ 114712 h 3402804"/>
              <a:gd name="connsiteX48" fmla="*/ 4442430 w 4671148"/>
              <a:gd name="connsiteY48" fmla="*/ 52952 h 3402804"/>
              <a:gd name="connsiteX49" fmla="*/ 4503733 w 4671148"/>
              <a:gd name="connsiteY49" fmla="*/ 171550 h 3402804"/>
              <a:gd name="connsiteX50" fmla="*/ 4496534 w 4671148"/>
              <a:gd name="connsiteY50" fmla="*/ 182509 h 3402804"/>
              <a:gd name="connsiteX51" fmla="*/ 4487607 w 4671148"/>
              <a:gd name="connsiteY51" fmla="*/ 158119 h 3402804"/>
              <a:gd name="connsiteX52" fmla="*/ 4439266 w 4671148"/>
              <a:gd name="connsiteY52" fmla="*/ 57769 h 3402804"/>
              <a:gd name="connsiteX53" fmla="*/ 4442430 w 4671148"/>
              <a:gd name="connsiteY53" fmla="*/ 52952 h 3402804"/>
              <a:gd name="connsiteX54" fmla="*/ 259711 w 4671148"/>
              <a:gd name="connsiteY54" fmla="*/ 0 h 3402804"/>
              <a:gd name="connsiteX55" fmla="*/ 203538 w 4671148"/>
              <a:gd name="connsiteY55" fmla="*/ 116608 h 3402804"/>
              <a:gd name="connsiteX56" fmla="*/ 191412 w 4671148"/>
              <a:gd name="connsiteY56" fmla="*/ 116662 h 3402804"/>
              <a:gd name="connsiteX57" fmla="*/ 256350 w 4671148"/>
              <a:gd name="connsiteY57" fmla="*/ 15 h 3402804"/>
              <a:gd name="connsiteX58" fmla="*/ 259711 w 4671148"/>
              <a:gd name="connsiteY58" fmla="*/ 0 h 3402804"/>
              <a:gd name="connsiteX0" fmla="*/ 2174881 w 4671148"/>
              <a:gd name="connsiteY0" fmla="*/ 3394675 h 3402789"/>
              <a:gd name="connsiteX1" fmla="*/ 2312290 w 4671148"/>
              <a:gd name="connsiteY1" fmla="*/ 3401613 h 3402789"/>
              <a:gd name="connsiteX2" fmla="*/ 2312951 w 4671148"/>
              <a:gd name="connsiteY2" fmla="*/ 3402789 h 3402789"/>
              <a:gd name="connsiteX3" fmla="*/ 2179446 w 4671148"/>
              <a:gd name="connsiteY3" fmla="*/ 3402789 h 3402789"/>
              <a:gd name="connsiteX4" fmla="*/ 2174881 w 4671148"/>
              <a:gd name="connsiteY4" fmla="*/ 3394675 h 3402789"/>
              <a:gd name="connsiteX5" fmla="*/ 2179446 w 4671148"/>
              <a:gd name="connsiteY5" fmla="*/ 2646689 h 3402789"/>
              <a:gd name="connsiteX6" fmla="*/ 2312951 w 4671148"/>
              <a:gd name="connsiteY6" fmla="*/ 2646689 h 3402789"/>
              <a:gd name="connsiteX7" fmla="*/ 2306993 w 4671148"/>
              <a:gd name="connsiteY7" fmla="*/ 2657279 h 3402789"/>
              <a:gd name="connsiteX8" fmla="*/ 2177176 w 4671148"/>
              <a:gd name="connsiteY8" fmla="*/ 2650724 h 3402789"/>
              <a:gd name="connsiteX9" fmla="*/ 2179446 w 4671148"/>
              <a:gd name="connsiteY9" fmla="*/ 2646689 h 3402789"/>
              <a:gd name="connsiteX10" fmla="*/ 3770754 w 4671148"/>
              <a:gd name="connsiteY10" fmla="*/ 400123 h 3402789"/>
              <a:gd name="connsiteX11" fmla="*/ 3779224 w 4671148"/>
              <a:gd name="connsiteY11" fmla="*/ 400423 h 3402789"/>
              <a:gd name="connsiteX12" fmla="*/ 3802013 w 4671148"/>
              <a:gd name="connsiteY12" fmla="*/ 447729 h 3402789"/>
              <a:gd name="connsiteX13" fmla="*/ 3818147 w 4671148"/>
              <a:gd name="connsiteY13" fmla="*/ 491811 h 3402789"/>
              <a:gd name="connsiteX14" fmla="*/ 3770754 w 4671148"/>
              <a:gd name="connsiteY14" fmla="*/ 400123 h 3402789"/>
              <a:gd name="connsiteX15" fmla="*/ 911753 w 4671148"/>
              <a:gd name="connsiteY15" fmla="*/ 359261 h 3402789"/>
              <a:gd name="connsiteX16" fmla="*/ 916978 w 4671148"/>
              <a:gd name="connsiteY16" fmla="*/ 367775 h 3402789"/>
              <a:gd name="connsiteX17" fmla="*/ 862742 w 4671148"/>
              <a:gd name="connsiteY17" fmla="*/ 465196 h 3402789"/>
              <a:gd name="connsiteX18" fmla="*/ 869136 w 4671148"/>
              <a:gd name="connsiteY18" fmla="*/ 447729 h 3402789"/>
              <a:gd name="connsiteX19" fmla="*/ 911753 w 4671148"/>
              <a:gd name="connsiteY19" fmla="*/ 359261 h 3402789"/>
              <a:gd name="connsiteX20" fmla="*/ 4496534 w 4671148"/>
              <a:gd name="connsiteY20" fmla="*/ 182494 h 3402789"/>
              <a:gd name="connsiteX21" fmla="*/ 4566145 w 4671148"/>
              <a:gd name="connsiteY21" fmla="*/ 372687 h 3402789"/>
              <a:gd name="connsiteX22" fmla="*/ 4671148 w 4671148"/>
              <a:gd name="connsiteY22" fmla="*/ 1067215 h 3402789"/>
              <a:gd name="connsiteX23" fmla="*/ 2335574 w 4671148"/>
              <a:gd name="connsiteY23" fmla="*/ 3402789 h 3402789"/>
              <a:gd name="connsiteX24" fmla="*/ 2312290 w 4671148"/>
              <a:gd name="connsiteY24" fmla="*/ 3401613 h 3402789"/>
              <a:gd name="connsiteX25" fmla="*/ 2100256 w 4671148"/>
              <a:gd name="connsiteY25" fmla="*/ 3024739 h 3402789"/>
              <a:gd name="connsiteX26" fmla="*/ 2306993 w 4671148"/>
              <a:gd name="connsiteY26" fmla="*/ 2657279 h 3402789"/>
              <a:gd name="connsiteX27" fmla="*/ 2335574 w 4671148"/>
              <a:gd name="connsiteY27" fmla="*/ 2658722 h 3402789"/>
              <a:gd name="connsiteX28" fmla="*/ 3927081 w 4671148"/>
              <a:gd name="connsiteY28" fmla="*/ 1067215 h 3402789"/>
              <a:gd name="connsiteX29" fmla="*/ 3855530 w 4671148"/>
              <a:gd name="connsiteY29" fmla="*/ 593950 h 3402789"/>
              <a:gd name="connsiteX30" fmla="*/ 3818147 w 4671148"/>
              <a:gd name="connsiteY30" fmla="*/ 491811 h 3402789"/>
              <a:gd name="connsiteX31" fmla="*/ 3832057 w 4671148"/>
              <a:gd name="connsiteY31" fmla="*/ 518721 h 3402789"/>
              <a:gd name="connsiteX32" fmla="*/ 4265560 w 4671148"/>
              <a:gd name="connsiteY32" fmla="*/ 534074 h 3402789"/>
              <a:gd name="connsiteX33" fmla="*/ 4496534 w 4671148"/>
              <a:gd name="connsiteY33" fmla="*/ 182494 h 3402789"/>
              <a:gd name="connsiteX34" fmla="*/ 625183 w 4671148"/>
              <a:gd name="connsiteY34" fmla="*/ 114697 h 3402789"/>
              <a:gd name="connsiteX35" fmla="*/ 852039 w 4671148"/>
              <a:gd name="connsiteY35" fmla="*/ 484423 h 3402789"/>
              <a:gd name="connsiteX36" fmla="*/ 862742 w 4671148"/>
              <a:gd name="connsiteY36" fmla="*/ 465196 h 3402789"/>
              <a:gd name="connsiteX37" fmla="*/ 815618 w 4671148"/>
              <a:gd name="connsiteY37" fmla="*/ 593950 h 3402789"/>
              <a:gd name="connsiteX38" fmla="*/ 744067 w 4671148"/>
              <a:gd name="connsiteY38" fmla="*/ 1067215 h 3402789"/>
              <a:gd name="connsiteX39" fmla="*/ 2172852 w 4671148"/>
              <a:gd name="connsiteY39" fmla="*/ 2650505 h 3402789"/>
              <a:gd name="connsiteX40" fmla="*/ 2177176 w 4671148"/>
              <a:gd name="connsiteY40" fmla="*/ 2650724 h 3402789"/>
              <a:gd name="connsiteX41" fmla="*/ 1966751 w 4671148"/>
              <a:gd name="connsiteY41" fmla="*/ 3024739 h 3402789"/>
              <a:gd name="connsiteX42" fmla="*/ 2174881 w 4671148"/>
              <a:gd name="connsiteY42" fmla="*/ 3394675 h 3402789"/>
              <a:gd name="connsiteX43" fmla="*/ 2096775 w 4671148"/>
              <a:gd name="connsiteY43" fmla="*/ 3390731 h 3402789"/>
              <a:gd name="connsiteX44" fmla="*/ 0 w 4671148"/>
              <a:gd name="connsiteY44" fmla="*/ 1067215 h 3402789"/>
              <a:gd name="connsiteX45" fmla="*/ 183541 w 4671148"/>
              <a:gd name="connsiteY45" fmla="*/ 158104 h 3402789"/>
              <a:gd name="connsiteX46" fmla="*/ 203538 w 4671148"/>
              <a:gd name="connsiteY46" fmla="*/ 116593 h 3402789"/>
              <a:gd name="connsiteX47" fmla="*/ 625183 w 4671148"/>
              <a:gd name="connsiteY47" fmla="*/ 114697 h 3402789"/>
              <a:gd name="connsiteX48" fmla="*/ 4442430 w 4671148"/>
              <a:gd name="connsiteY48" fmla="*/ 52937 h 3402789"/>
              <a:gd name="connsiteX49" fmla="*/ 4503733 w 4671148"/>
              <a:gd name="connsiteY49" fmla="*/ 171535 h 3402789"/>
              <a:gd name="connsiteX50" fmla="*/ 4496534 w 4671148"/>
              <a:gd name="connsiteY50" fmla="*/ 182494 h 3402789"/>
              <a:gd name="connsiteX51" fmla="*/ 4487607 w 4671148"/>
              <a:gd name="connsiteY51" fmla="*/ 158104 h 3402789"/>
              <a:gd name="connsiteX52" fmla="*/ 4439266 w 4671148"/>
              <a:gd name="connsiteY52" fmla="*/ 57754 h 3402789"/>
              <a:gd name="connsiteX53" fmla="*/ 4442430 w 4671148"/>
              <a:gd name="connsiteY53" fmla="*/ 52937 h 3402789"/>
              <a:gd name="connsiteX54" fmla="*/ 256350 w 4671148"/>
              <a:gd name="connsiteY54" fmla="*/ 0 h 3402789"/>
              <a:gd name="connsiteX55" fmla="*/ 203538 w 4671148"/>
              <a:gd name="connsiteY55" fmla="*/ 116593 h 3402789"/>
              <a:gd name="connsiteX56" fmla="*/ 191412 w 4671148"/>
              <a:gd name="connsiteY56" fmla="*/ 116647 h 3402789"/>
              <a:gd name="connsiteX57" fmla="*/ 256350 w 4671148"/>
              <a:gd name="connsiteY57" fmla="*/ 0 h 3402789"/>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911753 w 4671148"/>
              <a:gd name="connsiteY15" fmla="*/ 306324 h 3349852"/>
              <a:gd name="connsiteX16" fmla="*/ 916978 w 4671148"/>
              <a:gd name="connsiteY16" fmla="*/ 314838 h 3349852"/>
              <a:gd name="connsiteX17" fmla="*/ 862742 w 4671148"/>
              <a:gd name="connsiteY17" fmla="*/ 412259 h 3349852"/>
              <a:gd name="connsiteX18" fmla="*/ 869136 w 4671148"/>
              <a:gd name="connsiteY18" fmla="*/ 394792 h 3349852"/>
              <a:gd name="connsiteX19" fmla="*/ 911753 w 4671148"/>
              <a:gd name="connsiteY19" fmla="*/ 306324 h 3349852"/>
              <a:gd name="connsiteX20" fmla="*/ 4496534 w 4671148"/>
              <a:gd name="connsiteY20" fmla="*/ 129557 h 3349852"/>
              <a:gd name="connsiteX21" fmla="*/ 4566145 w 4671148"/>
              <a:gd name="connsiteY21" fmla="*/ 319750 h 3349852"/>
              <a:gd name="connsiteX22" fmla="*/ 4671148 w 4671148"/>
              <a:gd name="connsiteY22" fmla="*/ 1014278 h 3349852"/>
              <a:gd name="connsiteX23" fmla="*/ 2335574 w 4671148"/>
              <a:gd name="connsiteY23" fmla="*/ 3349852 h 3349852"/>
              <a:gd name="connsiteX24" fmla="*/ 2312290 w 4671148"/>
              <a:gd name="connsiteY24" fmla="*/ 3348676 h 3349852"/>
              <a:gd name="connsiteX25" fmla="*/ 2100256 w 4671148"/>
              <a:gd name="connsiteY25" fmla="*/ 2971802 h 3349852"/>
              <a:gd name="connsiteX26" fmla="*/ 2306993 w 4671148"/>
              <a:gd name="connsiteY26" fmla="*/ 2604342 h 3349852"/>
              <a:gd name="connsiteX27" fmla="*/ 2335574 w 4671148"/>
              <a:gd name="connsiteY27" fmla="*/ 2605785 h 3349852"/>
              <a:gd name="connsiteX28" fmla="*/ 3927081 w 4671148"/>
              <a:gd name="connsiteY28" fmla="*/ 1014278 h 3349852"/>
              <a:gd name="connsiteX29" fmla="*/ 3855530 w 4671148"/>
              <a:gd name="connsiteY29" fmla="*/ 541013 h 3349852"/>
              <a:gd name="connsiteX30" fmla="*/ 3818147 w 4671148"/>
              <a:gd name="connsiteY30" fmla="*/ 438874 h 3349852"/>
              <a:gd name="connsiteX31" fmla="*/ 3832057 w 4671148"/>
              <a:gd name="connsiteY31" fmla="*/ 465784 h 3349852"/>
              <a:gd name="connsiteX32" fmla="*/ 4265560 w 4671148"/>
              <a:gd name="connsiteY32" fmla="*/ 481137 h 3349852"/>
              <a:gd name="connsiteX33" fmla="*/ 4496534 w 4671148"/>
              <a:gd name="connsiteY33" fmla="*/ 129557 h 3349852"/>
              <a:gd name="connsiteX34" fmla="*/ 625183 w 4671148"/>
              <a:gd name="connsiteY34" fmla="*/ 61760 h 3349852"/>
              <a:gd name="connsiteX35" fmla="*/ 852039 w 4671148"/>
              <a:gd name="connsiteY35" fmla="*/ 431486 h 3349852"/>
              <a:gd name="connsiteX36" fmla="*/ 862742 w 4671148"/>
              <a:gd name="connsiteY36" fmla="*/ 412259 h 3349852"/>
              <a:gd name="connsiteX37" fmla="*/ 815618 w 4671148"/>
              <a:gd name="connsiteY37" fmla="*/ 541013 h 3349852"/>
              <a:gd name="connsiteX38" fmla="*/ 744067 w 4671148"/>
              <a:gd name="connsiteY38" fmla="*/ 1014278 h 3349852"/>
              <a:gd name="connsiteX39" fmla="*/ 2172852 w 4671148"/>
              <a:gd name="connsiteY39" fmla="*/ 2597568 h 3349852"/>
              <a:gd name="connsiteX40" fmla="*/ 2177176 w 4671148"/>
              <a:gd name="connsiteY40" fmla="*/ 2597787 h 3349852"/>
              <a:gd name="connsiteX41" fmla="*/ 1966751 w 4671148"/>
              <a:gd name="connsiteY41" fmla="*/ 2971802 h 3349852"/>
              <a:gd name="connsiteX42" fmla="*/ 2174881 w 4671148"/>
              <a:gd name="connsiteY42" fmla="*/ 3341738 h 3349852"/>
              <a:gd name="connsiteX43" fmla="*/ 2096775 w 4671148"/>
              <a:gd name="connsiteY43" fmla="*/ 3337794 h 3349852"/>
              <a:gd name="connsiteX44" fmla="*/ 0 w 4671148"/>
              <a:gd name="connsiteY44" fmla="*/ 1014278 h 3349852"/>
              <a:gd name="connsiteX45" fmla="*/ 183541 w 4671148"/>
              <a:gd name="connsiteY45" fmla="*/ 105167 h 3349852"/>
              <a:gd name="connsiteX46" fmla="*/ 203538 w 4671148"/>
              <a:gd name="connsiteY46" fmla="*/ 63656 h 3349852"/>
              <a:gd name="connsiteX47" fmla="*/ 625183 w 4671148"/>
              <a:gd name="connsiteY47" fmla="*/ 61760 h 3349852"/>
              <a:gd name="connsiteX48" fmla="*/ 4442430 w 4671148"/>
              <a:gd name="connsiteY48" fmla="*/ 0 h 3349852"/>
              <a:gd name="connsiteX49" fmla="*/ 4503733 w 4671148"/>
              <a:gd name="connsiteY49" fmla="*/ 118598 h 3349852"/>
              <a:gd name="connsiteX50" fmla="*/ 4496534 w 4671148"/>
              <a:gd name="connsiteY50" fmla="*/ 129557 h 3349852"/>
              <a:gd name="connsiteX51" fmla="*/ 4487607 w 4671148"/>
              <a:gd name="connsiteY51" fmla="*/ 105167 h 3349852"/>
              <a:gd name="connsiteX52" fmla="*/ 4439266 w 4671148"/>
              <a:gd name="connsiteY52" fmla="*/ 4817 h 3349852"/>
              <a:gd name="connsiteX53" fmla="*/ 4442430 w 4671148"/>
              <a:gd name="connsiteY53" fmla="*/ 0 h 3349852"/>
              <a:gd name="connsiteX54" fmla="*/ 191412 w 4671148"/>
              <a:gd name="connsiteY54" fmla="*/ 63710 h 3349852"/>
              <a:gd name="connsiteX55" fmla="*/ 203538 w 4671148"/>
              <a:gd name="connsiteY55" fmla="*/ 63656 h 3349852"/>
              <a:gd name="connsiteX56" fmla="*/ 191412 w 4671148"/>
              <a:gd name="connsiteY56"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869136 w 4671148"/>
              <a:gd name="connsiteY15" fmla="*/ 394792 h 3349852"/>
              <a:gd name="connsiteX16" fmla="*/ 916978 w 4671148"/>
              <a:gd name="connsiteY16" fmla="*/ 314838 h 3349852"/>
              <a:gd name="connsiteX17" fmla="*/ 862742 w 4671148"/>
              <a:gd name="connsiteY17" fmla="*/ 412259 h 3349852"/>
              <a:gd name="connsiteX18" fmla="*/ 869136 w 4671148"/>
              <a:gd name="connsiteY18" fmla="*/ 394792 h 3349852"/>
              <a:gd name="connsiteX19" fmla="*/ 4496534 w 4671148"/>
              <a:gd name="connsiteY19" fmla="*/ 129557 h 3349852"/>
              <a:gd name="connsiteX20" fmla="*/ 4566145 w 4671148"/>
              <a:gd name="connsiteY20" fmla="*/ 319750 h 3349852"/>
              <a:gd name="connsiteX21" fmla="*/ 4671148 w 4671148"/>
              <a:gd name="connsiteY21" fmla="*/ 1014278 h 3349852"/>
              <a:gd name="connsiteX22" fmla="*/ 2335574 w 4671148"/>
              <a:gd name="connsiteY22" fmla="*/ 3349852 h 3349852"/>
              <a:gd name="connsiteX23" fmla="*/ 2312290 w 4671148"/>
              <a:gd name="connsiteY23" fmla="*/ 3348676 h 3349852"/>
              <a:gd name="connsiteX24" fmla="*/ 2100256 w 4671148"/>
              <a:gd name="connsiteY24" fmla="*/ 2971802 h 3349852"/>
              <a:gd name="connsiteX25" fmla="*/ 2306993 w 4671148"/>
              <a:gd name="connsiteY25" fmla="*/ 2604342 h 3349852"/>
              <a:gd name="connsiteX26" fmla="*/ 2335574 w 4671148"/>
              <a:gd name="connsiteY26" fmla="*/ 2605785 h 3349852"/>
              <a:gd name="connsiteX27" fmla="*/ 3927081 w 4671148"/>
              <a:gd name="connsiteY27" fmla="*/ 1014278 h 3349852"/>
              <a:gd name="connsiteX28" fmla="*/ 3855530 w 4671148"/>
              <a:gd name="connsiteY28" fmla="*/ 541013 h 3349852"/>
              <a:gd name="connsiteX29" fmla="*/ 3818147 w 4671148"/>
              <a:gd name="connsiteY29" fmla="*/ 438874 h 3349852"/>
              <a:gd name="connsiteX30" fmla="*/ 3832057 w 4671148"/>
              <a:gd name="connsiteY30" fmla="*/ 465784 h 3349852"/>
              <a:gd name="connsiteX31" fmla="*/ 4265560 w 4671148"/>
              <a:gd name="connsiteY31" fmla="*/ 481137 h 3349852"/>
              <a:gd name="connsiteX32" fmla="*/ 4496534 w 4671148"/>
              <a:gd name="connsiteY32" fmla="*/ 129557 h 3349852"/>
              <a:gd name="connsiteX33" fmla="*/ 625183 w 4671148"/>
              <a:gd name="connsiteY33" fmla="*/ 61760 h 3349852"/>
              <a:gd name="connsiteX34" fmla="*/ 852039 w 4671148"/>
              <a:gd name="connsiteY34" fmla="*/ 431486 h 3349852"/>
              <a:gd name="connsiteX35" fmla="*/ 862742 w 4671148"/>
              <a:gd name="connsiteY35" fmla="*/ 412259 h 3349852"/>
              <a:gd name="connsiteX36" fmla="*/ 815618 w 4671148"/>
              <a:gd name="connsiteY36" fmla="*/ 541013 h 3349852"/>
              <a:gd name="connsiteX37" fmla="*/ 744067 w 4671148"/>
              <a:gd name="connsiteY37" fmla="*/ 1014278 h 3349852"/>
              <a:gd name="connsiteX38" fmla="*/ 2172852 w 4671148"/>
              <a:gd name="connsiteY38" fmla="*/ 2597568 h 3349852"/>
              <a:gd name="connsiteX39" fmla="*/ 2177176 w 4671148"/>
              <a:gd name="connsiteY39" fmla="*/ 2597787 h 3349852"/>
              <a:gd name="connsiteX40" fmla="*/ 1966751 w 4671148"/>
              <a:gd name="connsiteY40" fmla="*/ 2971802 h 3349852"/>
              <a:gd name="connsiteX41" fmla="*/ 2174881 w 4671148"/>
              <a:gd name="connsiteY41" fmla="*/ 3341738 h 3349852"/>
              <a:gd name="connsiteX42" fmla="*/ 2096775 w 4671148"/>
              <a:gd name="connsiteY42" fmla="*/ 3337794 h 3349852"/>
              <a:gd name="connsiteX43" fmla="*/ 0 w 4671148"/>
              <a:gd name="connsiteY43" fmla="*/ 1014278 h 3349852"/>
              <a:gd name="connsiteX44" fmla="*/ 183541 w 4671148"/>
              <a:gd name="connsiteY44" fmla="*/ 105167 h 3349852"/>
              <a:gd name="connsiteX45" fmla="*/ 203538 w 4671148"/>
              <a:gd name="connsiteY45" fmla="*/ 63656 h 3349852"/>
              <a:gd name="connsiteX46" fmla="*/ 625183 w 4671148"/>
              <a:gd name="connsiteY46" fmla="*/ 61760 h 3349852"/>
              <a:gd name="connsiteX47" fmla="*/ 4442430 w 4671148"/>
              <a:gd name="connsiteY47" fmla="*/ 0 h 3349852"/>
              <a:gd name="connsiteX48" fmla="*/ 4503733 w 4671148"/>
              <a:gd name="connsiteY48" fmla="*/ 118598 h 3349852"/>
              <a:gd name="connsiteX49" fmla="*/ 4496534 w 4671148"/>
              <a:gd name="connsiteY49" fmla="*/ 129557 h 3349852"/>
              <a:gd name="connsiteX50" fmla="*/ 4487607 w 4671148"/>
              <a:gd name="connsiteY50" fmla="*/ 105167 h 3349852"/>
              <a:gd name="connsiteX51" fmla="*/ 4439266 w 4671148"/>
              <a:gd name="connsiteY51" fmla="*/ 4817 h 3349852"/>
              <a:gd name="connsiteX52" fmla="*/ 4442430 w 4671148"/>
              <a:gd name="connsiteY52" fmla="*/ 0 h 3349852"/>
              <a:gd name="connsiteX53" fmla="*/ 191412 w 4671148"/>
              <a:gd name="connsiteY53" fmla="*/ 63710 h 3349852"/>
              <a:gd name="connsiteX54" fmla="*/ 203538 w 4671148"/>
              <a:gd name="connsiteY54" fmla="*/ 63656 h 3349852"/>
              <a:gd name="connsiteX55" fmla="*/ 191412 w 4671148"/>
              <a:gd name="connsiteY55"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869136 w 4671148"/>
              <a:gd name="connsiteY15" fmla="*/ 394792 h 3349852"/>
              <a:gd name="connsiteX16" fmla="*/ 862742 w 4671148"/>
              <a:gd name="connsiteY16" fmla="*/ 412259 h 3349852"/>
              <a:gd name="connsiteX17" fmla="*/ 869136 w 4671148"/>
              <a:gd name="connsiteY17" fmla="*/ 394792 h 3349852"/>
              <a:gd name="connsiteX18" fmla="*/ 4496534 w 4671148"/>
              <a:gd name="connsiteY18" fmla="*/ 129557 h 3349852"/>
              <a:gd name="connsiteX19" fmla="*/ 4566145 w 4671148"/>
              <a:gd name="connsiteY19" fmla="*/ 319750 h 3349852"/>
              <a:gd name="connsiteX20" fmla="*/ 4671148 w 4671148"/>
              <a:gd name="connsiteY20" fmla="*/ 1014278 h 3349852"/>
              <a:gd name="connsiteX21" fmla="*/ 2335574 w 4671148"/>
              <a:gd name="connsiteY21" fmla="*/ 3349852 h 3349852"/>
              <a:gd name="connsiteX22" fmla="*/ 2312290 w 4671148"/>
              <a:gd name="connsiteY22" fmla="*/ 3348676 h 3349852"/>
              <a:gd name="connsiteX23" fmla="*/ 2100256 w 4671148"/>
              <a:gd name="connsiteY23" fmla="*/ 2971802 h 3349852"/>
              <a:gd name="connsiteX24" fmla="*/ 2306993 w 4671148"/>
              <a:gd name="connsiteY24" fmla="*/ 2604342 h 3349852"/>
              <a:gd name="connsiteX25" fmla="*/ 2335574 w 4671148"/>
              <a:gd name="connsiteY25" fmla="*/ 2605785 h 3349852"/>
              <a:gd name="connsiteX26" fmla="*/ 3927081 w 4671148"/>
              <a:gd name="connsiteY26" fmla="*/ 1014278 h 3349852"/>
              <a:gd name="connsiteX27" fmla="*/ 3855530 w 4671148"/>
              <a:gd name="connsiteY27" fmla="*/ 541013 h 3349852"/>
              <a:gd name="connsiteX28" fmla="*/ 3818147 w 4671148"/>
              <a:gd name="connsiteY28" fmla="*/ 438874 h 3349852"/>
              <a:gd name="connsiteX29" fmla="*/ 3832057 w 4671148"/>
              <a:gd name="connsiteY29" fmla="*/ 465784 h 3349852"/>
              <a:gd name="connsiteX30" fmla="*/ 4265560 w 4671148"/>
              <a:gd name="connsiteY30" fmla="*/ 481137 h 3349852"/>
              <a:gd name="connsiteX31" fmla="*/ 4496534 w 4671148"/>
              <a:gd name="connsiteY31" fmla="*/ 129557 h 3349852"/>
              <a:gd name="connsiteX32" fmla="*/ 625183 w 4671148"/>
              <a:gd name="connsiteY32" fmla="*/ 61760 h 3349852"/>
              <a:gd name="connsiteX33" fmla="*/ 852039 w 4671148"/>
              <a:gd name="connsiteY33" fmla="*/ 431486 h 3349852"/>
              <a:gd name="connsiteX34" fmla="*/ 862742 w 4671148"/>
              <a:gd name="connsiteY34" fmla="*/ 412259 h 3349852"/>
              <a:gd name="connsiteX35" fmla="*/ 815618 w 4671148"/>
              <a:gd name="connsiteY35" fmla="*/ 541013 h 3349852"/>
              <a:gd name="connsiteX36" fmla="*/ 744067 w 4671148"/>
              <a:gd name="connsiteY36" fmla="*/ 1014278 h 3349852"/>
              <a:gd name="connsiteX37" fmla="*/ 2172852 w 4671148"/>
              <a:gd name="connsiteY37" fmla="*/ 2597568 h 3349852"/>
              <a:gd name="connsiteX38" fmla="*/ 2177176 w 4671148"/>
              <a:gd name="connsiteY38" fmla="*/ 2597787 h 3349852"/>
              <a:gd name="connsiteX39" fmla="*/ 1966751 w 4671148"/>
              <a:gd name="connsiteY39" fmla="*/ 2971802 h 3349852"/>
              <a:gd name="connsiteX40" fmla="*/ 2174881 w 4671148"/>
              <a:gd name="connsiteY40" fmla="*/ 3341738 h 3349852"/>
              <a:gd name="connsiteX41" fmla="*/ 2096775 w 4671148"/>
              <a:gd name="connsiteY41" fmla="*/ 3337794 h 3349852"/>
              <a:gd name="connsiteX42" fmla="*/ 0 w 4671148"/>
              <a:gd name="connsiteY42" fmla="*/ 1014278 h 3349852"/>
              <a:gd name="connsiteX43" fmla="*/ 183541 w 4671148"/>
              <a:gd name="connsiteY43" fmla="*/ 105167 h 3349852"/>
              <a:gd name="connsiteX44" fmla="*/ 203538 w 4671148"/>
              <a:gd name="connsiteY44" fmla="*/ 63656 h 3349852"/>
              <a:gd name="connsiteX45" fmla="*/ 625183 w 4671148"/>
              <a:gd name="connsiteY45" fmla="*/ 61760 h 3349852"/>
              <a:gd name="connsiteX46" fmla="*/ 4442430 w 4671148"/>
              <a:gd name="connsiteY46" fmla="*/ 0 h 3349852"/>
              <a:gd name="connsiteX47" fmla="*/ 4503733 w 4671148"/>
              <a:gd name="connsiteY47" fmla="*/ 118598 h 3349852"/>
              <a:gd name="connsiteX48" fmla="*/ 4496534 w 4671148"/>
              <a:gd name="connsiteY48" fmla="*/ 129557 h 3349852"/>
              <a:gd name="connsiteX49" fmla="*/ 4487607 w 4671148"/>
              <a:gd name="connsiteY49" fmla="*/ 105167 h 3349852"/>
              <a:gd name="connsiteX50" fmla="*/ 4439266 w 4671148"/>
              <a:gd name="connsiteY50" fmla="*/ 4817 h 3349852"/>
              <a:gd name="connsiteX51" fmla="*/ 4442430 w 4671148"/>
              <a:gd name="connsiteY51" fmla="*/ 0 h 3349852"/>
              <a:gd name="connsiteX52" fmla="*/ 191412 w 4671148"/>
              <a:gd name="connsiteY52" fmla="*/ 63710 h 3349852"/>
              <a:gd name="connsiteX53" fmla="*/ 203538 w 4671148"/>
              <a:gd name="connsiteY53" fmla="*/ 63656 h 3349852"/>
              <a:gd name="connsiteX54" fmla="*/ 191412 w 4671148"/>
              <a:gd name="connsiteY54"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869136 w 4671148"/>
              <a:gd name="connsiteY15" fmla="*/ 394792 h 3349852"/>
              <a:gd name="connsiteX16" fmla="*/ 862742 w 4671148"/>
              <a:gd name="connsiteY16" fmla="*/ 412259 h 3349852"/>
              <a:gd name="connsiteX17" fmla="*/ 869136 w 4671148"/>
              <a:gd name="connsiteY17" fmla="*/ 394792 h 3349852"/>
              <a:gd name="connsiteX18" fmla="*/ 4496534 w 4671148"/>
              <a:gd name="connsiteY18" fmla="*/ 129557 h 3349852"/>
              <a:gd name="connsiteX19" fmla="*/ 4566145 w 4671148"/>
              <a:gd name="connsiteY19" fmla="*/ 319750 h 3349852"/>
              <a:gd name="connsiteX20" fmla="*/ 4671148 w 4671148"/>
              <a:gd name="connsiteY20" fmla="*/ 1014278 h 3349852"/>
              <a:gd name="connsiteX21" fmla="*/ 2335574 w 4671148"/>
              <a:gd name="connsiteY21" fmla="*/ 3349852 h 3349852"/>
              <a:gd name="connsiteX22" fmla="*/ 2312290 w 4671148"/>
              <a:gd name="connsiteY22" fmla="*/ 3348676 h 3349852"/>
              <a:gd name="connsiteX23" fmla="*/ 2100256 w 4671148"/>
              <a:gd name="connsiteY23" fmla="*/ 2971802 h 3349852"/>
              <a:gd name="connsiteX24" fmla="*/ 2306993 w 4671148"/>
              <a:gd name="connsiteY24" fmla="*/ 2604342 h 3349852"/>
              <a:gd name="connsiteX25" fmla="*/ 2335574 w 4671148"/>
              <a:gd name="connsiteY25" fmla="*/ 2605785 h 3349852"/>
              <a:gd name="connsiteX26" fmla="*/ 3927081 w 4671148"/>
              <a:gd name="connsiteY26" fmla="*/ 1014278 h 3349852"/>
              <a:gd name="connsiteX27" fmla="*/ 3855530 w 4671148"/>
              <a:gd name="connsiteY27" fmla="*/ 541013 h 3349852"/>
              <a:gd name="connsiteX28" fmla="*/ 3818147 w 4671148"/>
              <a:gd name="connsiteY28" fmla="*/ 438874 h 3349852"/>
              <a:gd name="connsiteX29" fmla="*/ 3832057 w 4671148"/>
              <a:gd name="connsiteY29" fmla="*/ 465784 h 3349852"/>
              <a:gd name="connsiteX30" fmla="*/ 4265560 w 4671148"/>
              <a:gd name="connsiteY30" fmla="*/ 481137 h 3349852"/>
              <a:gd name="connsiteX31" fmla="*/ 4496534 w 4671148"/>
              <a:gd name="connsiteY31" fmla="*/ 129557 h 3349852"/>
              <a:gd name="connsiteX32" fmla="*/ 203538 w 4671148"/>
              <a:gd name="connsiteY32" fmla="*/ 63656 h 3349852"/>
              <a:gd name="connsiteX33" fmla="*/ 852039 w 4671148"/>
              <a:gd name="connsiteY33" fmla="*/ 431486 h 3349852"/>
              <a:gd name="connsiteX34" fmla="*/ 862742 w 4671148"/>
              <a:gd name="connsiteY34" fmla="*/ 412259 h 3349852"/>
              <a:gd name="connsiteX35" fmla="*/ 815618 w 4671148"/>
              <a:gd name="connsiteY35" fmla="*/ 541013 h 3349852"/>
              <a:gd name="connsiteX36" fmla="*/ 744067 w 4671148"/>
              <a:gd name="connsiteY36" fmla="*/ 1014278 h 3349852"/>
              <a:gd name="connsiteX37" fmla="*/ 2172852 w 4671148"/>
              <a:gd name="connsiteY37" fmla="*/ 2597568 h 3349852"/>
              <a:gd name="connsiteX38" fmla="*/ 2177176 w 4671148"/>
              <a:gd name="connsiteY38" fmla="*/ 2597787 h 3349852"/>
              <a:gd name="connsiteX39" fmla="*/ 1966751 w 4671148"/>
              <a:gd name="connsiteY39" fmla="*/ 2971802 h 3349852"/>
              <a:gd name="connsiteX40" fmla="*/ 2174881 w 4671148"/>
              <a:gd name="connsiteY40" fmla="*/ 3341738 h 3349852"/>
              <a:gd name="connsiteX41" fmla="*/ 2096775 w 4671148"/>
              <a:gd name="connsiteY41" fmla="*/ 3337794 h 3349852"/>
              <a:gd name="connsiteX42" fmla="*/ 0 w 4671148"/>
              <a:gd name="connsiteY42" fmla="*/ 1014278 h 3349852"/>
              <a:gd name="connsiteX43" fmla="*/ 183541 w 4671148"/>
              <a:gd name="connsiteY43" fmla="*/ 105167 h 3349852"/>
              <a:gd name="connsiteX44" fmla="*/ 203538 w 4671148"/>
              <a:gd name="connsiteY44" fmla="*/ 63656 h 3349852"/>
              <a:gd name="connsiteX45" fmla="*/ 4442430 w 4671148"/>
              <a:gd name="connsiteY45" fmla="*/ 0 h 3349852"/>
              <a:gd name="connsiteX46" fmla="*/ 4503733 w 4671148"/>
              <a:gd name="connsiteY46" fmla="*/ 118598 h 3349852"/>
              <a:gd name="connsiteX47" fmla="*/ 4496534 w 4671148"/>
              <a:gd name="connsiteY47" fmla="*/ 129557 h 3349852"/>
              <a:gd name="connsiteX48" fmla="*/ 4487607 w 4671148"/>
              <a:gd name="connsiteY48" fmla="*/ 105167 h 3349852"/>
              <a:gd name="connsiteX49" fmla="*/ 4439266 w 4671148"/>
              <a:gd name="connsiteY49" fmla="*/ 4817 h 3349852"/>
              <a:gd name="connsiteX50" fmla="*/ 4442430 w 4671148"/>
              <a:gd name="connsiteY50" fmla="*/ 0 h 3349852"/>
              <a:gd name="connsiteX51" fmla="*/ 191412 w 4671148"/>
              <a:gd name="connsiteY51" fmla="*/ 63710 h 3349852"/>
              <a:gd name="connsiteX52" fmla="*/ 203538 w 4671148"/>
              <a:gd name="connsiteY52" fmla="*/ 63656 h 3349852"/>
              <a:gd name="connsiteX53" fmla="*/ 191412 w 4671148"/>
              <a:gd name="connsiteY53"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869136 w 4671148"/>
              <a:gd name="connsiteY15" fmla="*/ 394792 h 3349852"/>
              <a:gd name="connsiteX16" fmla="*/ 862742 w 4671148"/>
              <a:gd name="connsiteY16" fmla="*/ 412259 h 3349852"/>
              <a:gd name="connsiteX17" fmla="*/ 869136 w 4671148"/>
              <a:gd name="connsiteY17" fmla="*/ 394792 h 3349852"/>
              <a:gd name="connsiteX18" fmla="*/ 4496534 w 4671148"/>
              <a:gd name="connsiteY18" fmla="*/ 129557 h 3349852"/>
              <a:gd name="connsiteX19" fmla="*/ 4566145 w 4671148"/>
              <a:gd name="connsiteY19" fmla="*/ 319750 h 3349852"/>
              <a:gd name="connsiteX20" fmla="*/ 4671148 w 4671148"/>
              <a:gd name="connsiteY20" fmla="*/ 1014278 h 3349852"/>
              <a:gd name="connsiteX21" fmla="*/ 2335574 w 4671148"/>
              <a:gd name="connsiteY21" fmla="*/ 3349852 h 3349852"/>
              <a:gd name="connsiteX22" fmla="*/ 2312290 w 4671148"/>
              <a:gd name="connsiteY22" fmla="*/ 3348676 h 3349852"/>
              <a:gd name="connsiteX23" fmla="*/ 2100256 w 4671148"/>
              <a:gd name="connsiteY23" fmla="*/ 2971802 h 3349852"/>
              <a:gd name="connsiteX24" fmla="*/ 2306993 w 4671148"/>
              <a:gd name="connsiteY24" fmla="*/ 2604342 h 3349852"/>
              <a:gd name="connsiteX25" fmla="*/ 2335574 w 4671148"/>
              <a:gd name="connsiteY25" fmla="*/ 2605785 h 3349852"/>
              <a:gd name="connsiteX26" fmla="*/ 3927081 w 4671148"/>
              <a:gd name="connsiteY26" fmla="*/ 1014278 h 3349852"/>
              <a:gd name="connsiteX27" fmla="*/ 3855530 w 4671148"/>
              <a:gd name="connsiteY27" fmla="*/ 541013 h 3349852"/>
              <a:gd name="connsiteX28" fmla="*/ 3818147 w 4671148"/>
              <a:gd name="connsiteY28" fmla="*/ 438874 h 3349852"/>
              <a:gd name="connsiteX29" fmla="*/ 3832057 w 4671148"/>
              <a:gd name="connsiteY29" fmla="*/ 465784 h 3349852"/>
              <a:gd name="connsiteX30" fmla="*/ 4265560 w 4671148"/>
              <a:gd name="connsiteY30" fmla="*/ 481137 h 3349852"/>
              <a:gd name="connsiteX31" fmla="*/ 4496534 w 4671148"/>
              <a:gd name="connsiteY31" fmla="*/ 129557 h 3349852"/>
              <a:gd name="connsiteX32" fmla="*/ 203538 w 4671148"/>
              <a:gd name="connsiteY32" fmla="*/ 63656 h 3349852"/>
              <a:gd name="connsiteX33" fmla="*/ 852039 w 4671148"/>
              <a:gd name="connsiteY33" fmla="*/ 431486 h 3349852"/>
              <a:gd name="connsiteX34" fmla="*/ 815618 w 4671148"/>
              <a:gd name="connsiteY34" fmla="*/ 541013 h 3349852"/>
              <a:gd name="connsiteX35" fmla="*/ 744067 w 4671148"/>
              <a:gd name="connsiteY35" fmla="*/ 1014278 h 3349852"/>
              <a:gd name="connsiteX36" fmla="*/ 2172852 w 4671148"/>
              <a:gd name="connsiteY36" fmla="*/ 2597568 h 3349852"/>
              <a:gd name="connsiteX37" fmla="*/ 2177176 w 4671148"/>
              <a:gd name="connsiteY37" fmla="*/ 2597787 h 3349852"/>
              <a:gd name="connsiteX38" fmla="*/ 1966751 w 4671148"/>
              <a:gd name="connsiteY38" fmla="*/ 2971802 h 3349852"/>
              <a:gd name="connsiteX39" fmla="*/ 2174881 w 4671148"/>
              <a:gd name="connsiteY39" fmla="*/ 3341738 h 3349852"/>
              <a:gd name="connsiteX40" fmla="*/ 2096775 w 4671148"/>
              <a:gd name="connsiteY40" fmla="*/ 3337794 h 3349852"/>
              <a:gd name="connsiteX41" fmla="*/ 0 w 4671148"/>
              <a:gd name="connsiteY41" fmla="*/ 1014278 h 3349852"/>
              <a:gd name="connsiteX42" fmla="*/ 183541 w 4671148"/>
              <a:gd name="connsiteY42" fmla="*/ 105167 h 3349852"/>
              <a:gd name="connsiteX43" fmla="*/ 203538 w 4671148"/>
              <a:gd name="connsiteY43" fmla="*/ 63656 h 3349852"/>
              <a:gd name="connsiteX44" fmla="*/ 4442430 w 4671148"/>
              <a:gd name="connsiteY44" fmla="*/ 0 h 3349852"/>
              <a:gd name="connsiteX45" fmla="*/ 4503733 w 4671148"/>
              <a:gd name="connsiteY45" fmla="*/ 118598 h 3349852"/>
              <a:gd name="connsiteX46" fmla="*/ 4496534 w 4671148"/>
              <a:gd name="connsiteY46" fmla="*/ 129557 h 3349852"/>
              <a:gd name="connsiteX47" fmla="*/ 4487607 w 4671148"/>
              <a:gd name="connsiteY47" fmla="*/ 105167 h 3349852"/>
              <a:gd name="connsiteX48" fmla="*/ 4439266 w 4671148"/>
              <a:gd name="connsiteY48" fmla="*/ 4817 h 3349852"/>
              <a:gd name="connsiteX49" fmla="*/ 4442430 w 4671148"/>
              <a:gd name="connsiteY49" fmla="*/ 0 h 3349852"/>
              <a:gd name="connsiteX50" fmla="*/ 191412 w 4671148"/>
              <a:gd name="connsiteY50" fmla="*/ 63710 h 3349852"/>
              <a:gd name="connsiteX51" fmla="*/ 203538 w 4671148"/>
              <a:gd name="connsiteY51" fmla="*/ 63656 h 3349852"/>
              <a:gd name="connsiteX52" fmla="*/ 191412 w 4671148"/>
              <a:gd name="connsiteY52"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869136 w 4671148"/>
              <a:gd name="connsiteY15" fmla="*/ 394792 h 3349852"/>
              <a:gd name="connsiteX16" fmla="*/ 862742 w 4671148"/>
              <a:gd name="connsiteY16" fmla="*/ 412259 h 3349852"/>
              <a:gd name="connsiteX17" fmla="*/ 869136 w 4671148"/>
              <a:gd name="connsiteY17" fmla="*/ 394792 h 3349852"/>
              <a:gd name="connsiteX18" fmla="*/ 4496534 w 4671148"/>
              <a:gd name="connsiteY18" fmla="*/ 129557 h 3349852"/>
              <a:gd name="connsiteX19" fmla="*/ 4566145 w 4671148"/>
              <a:gd name="connsiteY19" fmla="*/ 319750 h 3349852"/>
              <a:gd name="connsiteX20" fmla="*/ 4671148 w 4671148"/>
              <a:gd name="connsiteY20" fmla="*/ 1014278 h 3349852"/>
              <a:gd name="connsiteX21" fmla="*/ 2335574 w 4671148"/>
              <a:gd name="connsiteY21" fmla="*/ 3349852 h 3349852"/>
              <a:gd name="connsiteX22" fmla="*/ 2312290 w 4671148"/>
              <a:gd name="connsiteY22" fmla="*/ 3348676 h 3349852"/>
              <a:gd name="connsiteX23" fmla="*/ 2100256 w 4671148"/>
              <a:gd name="connsiteY23" fmla="*/ 2971802 h 3349852"/>
              <a:gd name="connsiteX24" fmla="*/ 2306993 w 4671148"/>
              <a:gd name="connsiteY24" fmla="*/ 2604342 h 3349852"/>
              <a:gd name="connsiteX25" fmla="*/ 2335574 w 4671148"/>
              <a:gd name="connsiteY25" fmla="*/ 2605785 h 3349852"/>
              <a:gd name="connsiteX26" fmla="*/ 3927081 w 4671148"/>
              <a:gd name="connsiteY26" fmla="*/ 1014278 h 3349852"/>
              <a:gd name="connsiteX27" fmla="*/ 3855530 w 4671148"/>
              <a:gd name="connsiteY27" fmla="*/ 541013 h 3349852"/>
              <a:gd name="connsiteX28" fmla="*/ 3818147 w 4671148"/>
              <a:gd name="connsiteY28" fmla="*/ 438874 h 3349852"/>
              <a:gd name="connsiteX29" fmla="*/ 3832057 w 4671148"/>
              <a:gd name="connsiteY29" fmla="*/ 465784 h 3349852"/>
              <a:gd name="connsiteX30" fmla="*/ 4265560 w 4671148"/>
              <a:gd name="connsiteY30" fmla="*/ 481137 h 3349852"/>
              <a:gd name="connsiteX31" fmla="*/ 4496534 w 4671148"/>
              <a:gd name="connsiteY31" fmla="*/ 129557 h 3349852"/>
              <a:gd name="connsiteX32" fmla="*/ 203538 w 4671148"/>
              <a:gd name="connsiteY32" fmla="*/ 63656 h 3349852"/>
              <a:gd name="connsiteX33" fmla="*/ 815618 w 4671148"/>
              <a:gd name="connsiteY33" fmla="*/ 541013 h 3349852"/>
              <a:gd name="connsiteX34" fmla="*/ 744067 w 4671148"/>
              <a:gd name="connsiteY34" fmla="*/ 1014278 h 3349852"/>
              <a:gd name="connsiteX35" fmla="*/ 2172852 w 4671148"/>
              <a:gd name="connsiteY35" fmla="*/ 2597568 h 3349852"/>
              <a:gd name="connsiteX36" fmla="*/ 2177176 w 4671148"/>
              <a:gd name="connsiteY36" fmla="*/ 2597787 h 3349852"/>
              <a:gd name="connsiteX37" fmla="*/ 1966751 w 4671148"/>
              <a:gd name="connsiteY37" fmla="*/ 2971802 h 3349852"/>
              <a:gd name="connsiteX38" fmla="*/ 2174881 w 4671148"/>
              <a:gd name="connsiteY38" fmla="*/ 3341738 h 3349852"/>
              <a:gd name="connsiteX39" fmla="*/ 2096775 w 4671148"/>
              <a:gd name="connsiteY39" fmla="*/ 3337794 h 3349852"/>
              <a:gd name="connsiteX40" fmla="*/ 0 w 4671148"/>
              <a:gd name="connsiteY40" fmla="*/ 1014278 h 3349852"/>
              <a:gd name="connsiteX41" fmla="*/ 183541 w 4671148"/>
              <a:gd name="connsiteY41" fmla="*/ 105167 h 3349852"/>
              <a:gd name="connsiteX42" fmla="*/ 203538 w 4671148"/>
              <a:gd name="connsiteY42" fmla="*/ 63656 h 3349852"/>
              <a:gd name="connsiteX43" fmla="*/ 4442430 w 4671148"/>
              <a:gd name="connsiteY43" fmla="*/ 0 h 3349852"/>
              <a:gd name="connsiteX44" fmla="*/ 4503733 w 4671148"/>
              <a:gd name="connsiteY44" fmla="*/ 118598 h 3349852"/>
              <a:gd name="connsiteX45" fmla="*/ 4496534 w 4671148"/>
              <a:gd name="connsiteY45" fmla="*/ 129557 h 3349852"/>
              <a:gd name="connsiteX46" fmla="*/ 4487607 w 4671148"/>
              <a:gd name="connsiteY46" fmla="*/ 105167 h 3349852"/>
              <a:gd name="connsiteX47" fmla="*/ 4439266 w 4671148"/>
              <a:gd name="connsiteY47" fmla="*/ 4817 h 3349852"/>
              <a:gd name="connsiteX48" fmla="*/ 4442430 w 4671148"/>
              <a:gd name="connsiteY48" fmla="*/ 0 h 3349852"/>
              <a:gd name="connsiteX49" fmla="*/ 191412 w 4671148"/>
              <a:gd name="connsiteY49" fmla="*/ 63710 h 3349852"/>
              <a:gd name="connsiteX50" fmla="*/ 203538 w 4671148"/>
              <a:gd name="connsiteY50" fmla="*/ 63656 h 3349852"/>
              <a:gd name="connsiteX51" fmla="*/ 191412 w 4671148"/>
              <a:gd name="connsiteY51"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203538 w 4671148"/>
              <a:gd name="connsiteY29" fmla="*/ 63656 h 3349852"/>
              <a:gd name="connsiteX30" fmla="*/ 815618 w 4671148"/>
              <a:gd name="connsiteY30" fmla="*/ 541013 h 3349852"/>
              <a:gd name="connsiteX31" fmla="*/ 744067 w 4671148"/>
              <a:gd name="connsiteY31" fmla="*/ 1014278 h 3349852"/>
              <a:gd name="connsiteX32" fmla="*/ 2172852 w 4671148"/>
              <a:gd name="connsiteY32" fmla="*/ 2597568 h 3349852"/>
              <a:gd name="connsiteX33" fmla="*/ 2177176 w 4671148"/>
              <a:gd name="connsiteY33" fmla="*/ 2597787 h 3349852"/>
              <a:gd name="connsiteX34" fmla="*/ 1966751 w 4671148"/>
              <a:gd name="connsiteY34" fmla="*/ 2971802 h 3349852"/>
              <a:gd name="connsiteX35" fmla="*/ 2174881 w 4671148"/>
              <a:gd name="connsiteY35" fmla="*/ 3341738 h 3349852"/>
              <a:gd name="connsiteX36" fmla="*/ 2096775 w 4671148"/>
              <a:gd name="connsiteY36" fmla="*/ 3337794 h 3349852"/>
              <a:gd name="connsiteX37" fmla="*/ 0 w 4671148"/>
              <a:gd name="connsiteY37" fmla="*/ 1014278 h 3349852"/>
              <a:gd name="connsiteX38" fmla="*/ 183541 w 4671148"/>
              <a:gd name="connsiteY38" fmla="*/ 105167 h 3349852"/>
              <a:gd name="connsiteX39" fmla="*/ 203538 w 4671148"/>
              <a:gd name="connsiteY39" fmla="*/ 63656 h 3349852"/>
              <a:gd name="connsiteX40" fmla="*/ 4442430 w 4671148"/>
              <a:gd name="connsiteY40" fmla="*/ 0 h 3349852"/>
              <a:gd name="connsiteX41" fmla="*/ 4503733 w 4671148"/>
              <a:gd name="connsiteY41" fmla="*/ 118598 h 3349852"/>
              <a:gd name="connsiteX42" fmla="*/ 4496534 w 4671148"/>
              <a:gd name="connsiteY42" fmla="*/ 129557 h 3349852"/>
              <a:gd name="connsiteX43" fmla="*/ 4487607 w 4671148"/>
              <a:gd name="connsiteY43" fmla="*/ 105167 h 3349852"/>
              <a:gd name="connsiteX44" fmla="*/ 4439266 w 4671148"/>
              <a:gd name="connsiteY44" fmla="*/ 4817 h 3349852"/>
              <a:gd name="connsiteX45" fmla="*/ 4442430 w 4671148"/>
              <a:gd name="connsiteY45" fmla="*/ 0 h 3349852"/>
              <a:gd name="connsiteX46" fmla="*/ 191412 w 4671148"/>
              <a:gd name="connsiteY46" fmla="*/ 63710 h 3349852"/>
              <a:gd name="connsiteX47" fmla="*/ 203538 w 4671148"/>
              <a:gd name="connsiteY47" fmla="*/ 63656 h 3349852"/>
              <a:gd name="connsiteX48" fmla="*/ 191412 w 4671148"/>
              <a:gd name="connsiteY48" fmla="*/ 6371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203538 w 4671148"/>
              <a:gd name="connsiteY29" fmla="*/ 63656 h 3349852"/>
              <a:gd name="connsiteX30" fmla="*/ 815618 w 4671148"/>
              <a:gd name="connsiteY30" fmla="*/ 541013 h 3349852"/>
              <a:gd name="connsiteX31" fmla="*/ 744067 w 4671148"/>
              <a:gd name="connsiteY31" fmla="*/ 1014278 h 3349852"/>
              <a:gd name="connsiteX32" fmla="*/ 2172852 w 4671148"/>
              <a:gd name="connsiteY32" fmla="*/ 2597568 h 3349852"/>
              <a:gd name="connsiteX33" fmla="*/ 2177176 w 4671148"/>
              <a:gd name="connsiteY33" fmla="*/ 2597787 h 3349852"/>
              <a:gd name="connsiteX34" fmla="*/ 1966751 w 4671148"/>
              <a:gd name="connsiteY34" fmla="*/ 2971802 h 3349852"/>
              <a:gd name="connsiteX35" fmla="*/ 2174881 w 4671148"/>
              <a:gd name="connsiteY35" fmla="*/ 3341738 h 3349852"/>
              <a:gd name="connsiteX36" fmla="*/ 2096775 w 4671148"/>
              <a:gd name="connsiteY36" fmla="*/ 3337794 h 3349852"/>
              <a:gd name="connsiteX37" fmla="*/ 0 w 4671148"/>
              <a:gd name="connsiteY37" fmla="*/ 1014278 h 3349852"/>
              <a:gd name="connsiteX38" fmla="*/ 183541 w 4671148"/>
              <a:gd name="connsiteY38" fmla="*/ 105167 h 3349852"/>
              <a:gd name="connsiteX39" fmla="*/ 203538 w 4671148"/>
              <a:gd name="connsiteY39" fmla="*/ 63656 h 3349852"/>
              <a:gd name="connsiteX40" fmla="*/ 4442430 w 4671148"/>
              <a:gd name="connsiteY40" fmla="*/ 0 h 3349852"/>
              <a:gd name="connsiteX41" fmla="*/ 4503733 w 4671148"/>
              <a:gd name="connsiteY41" fmla="*/ 118598 h 3349852"/>
              <a:gd name="connsiteX42" fmla="*/ 4496534 w 4671148"/>
              <a:gd name="connsiteY42" fmla="*/ 129557 h 3349852"/>
              <a:gd name="connsiteX43" fmla="*/ 4487607 w 4671148"/>
              <a:gd name="connsiteY43" fmla="*/ 105167 h 3349852"/>
              <a:gd name="connsiteX44" fmla="*/ 4439266 w 4671148"/>
              <a:gd name="connsiteY44" fmla="*/ 4817 h 3349852"/>
              <a:gd name="connsiteX45" fmla="*/ 4442430 w 4671148"/>
              <a:gd name="connsiteY45" fmla="*/ 0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203538 w 4671148"/>
              <a:gd name="connsiteY29" fmla="*/ 63656 h 3349852"/>
              <a:gd name="connsiteX30" fmla="*/ 744067 w 4671148"/>
              <a:gd name="connsiteY30" fmla="*/ 1014278 h 3349852"/>
              <a:gd name="connsiteX31" fmla="*/ 2172852 w 4671148"/>
              <a:gd name="connsiteY31" fmla="*/ 2597568 h 3349852"/>
              <a:gd name="connsiteX32" fmla="*/ 2177176 w 4671148"/>
              <a:gd name="connsiteY32" fmla="*/ 2597787 h 3349852"/>
              <a:gd name="connsiteX33" fmla="*/ 1966751 w 4671148"/>
              <a:gd name="connsiteY33" fmla="*/ 2971802 h 3349852"/>
              <a:gd name="connsiteX34" fmla="*/ 2174881 w 4671148"/>
              <a:gd name="connsiteY34" fmla="*/ 3341738 h 3349852"/>
              <a:gd name="connsiteX35" fmla="*/ 2096775 w 4671148"/>
              <a:gd name="connsiteY35" fmla="*/ 3337794 h 3349852"/>
              <a:gd name="connsiteX36" fmla="*/ 0 w 4671148"/>
              <a:gd name="connsiteY36" fmla="*/ 1014278 h 3349852"/>
              <a:gd name="connsiteX37" fmla="*/ 183541 w 4671148"/>
              <a:gd name="connsiteY37" fmla="*/ 105167 h 3349852"/>
              <a:gd name="connsiteX38" fmla="*/ 203538 w 4671148"/>
              <a:gd name="connsiteY38" fmla="*/ 63656 h 3349852"/>
              <a:gd name="connsiteX39" fmla="*/ 4442430 w 4671148"/>
              <a:gd name="connsiteY39" fmla="*/ 0 h 3349852"/>
              <a:gd name="connsiteX40" fmla="*/ 4503733 w 4671148"/>
              <a:gd name="connsiteY40" fmla="*/ 118598 h 3349852"/>
              <a:gd name="connsiteX41" fmla="*/ 4496534 w 4671148"/>
              <a:gd name="connsiteY41" fmla="*/ 129557 h 3349852"/>
              <a:gd name="connsiteX42" fmla="*/ 4487607 w 4671148"/>
              <a:gd name="connsiteY42" fmla="*/ 105167 h 3349852"/>
              <a:gd name="connsiteX43" fmla="*/ 4439266 w 4671148"/>
              <a:gd name="connsiteY43" fmla="*/ 4817 h 3349852"/>
              <a:gd name="connsiteX44" fmla="*/ 4442430 w 4671148"/>
              <a:gd name="connsiteY44" fmla="*/ 0 h 3349852"/>
              <a:gd name="connsiteX0" fmla="*/ 2294399 w 4790666"/>
              <a:gd name="connsiteY0" fmla="*/ 3341738 h 3349852"/>
              <a:gd name="connsiteX1" fmla="*/ 2431808 w 4790666"/>
              <a:gd name="connsiteY1" fmla="*/ 3348676 h 3349852"/>
              <a:gd name="connsiteX2" fmla="*/ 2432469 w 4790666"/>
              <a:gd name="connsiteY2" fmla="*/ 3349852 h 3349852"/>
              <a:gd name="connsiteX3" fmla="*/ 2298964 w 4790666"/>
              <a:gd name="connsiteY3" fmla="*/ 3349852 h 3349852"/>
              <a:gd name="connsiteX4" fmla="*/ 2294399 w 4790666"/>
              <a:gd name="connsiteY4" fmla="*/ 3341738 h 3349852"/>
              <a:gd name="connsiteX5" fmla="*/ 2298964 w 4790666"/>
              <a:gd name="connsiteY5" fmla="*/ 2593752 h 3349852"/>
              <a:gd name="connsiteX6" fmla="*/ 2432469 w 4790666"/>
              <a:gd name="connsiteY6" fmla="*/ 2593752 h 3349852"/>
              <a:gd name="connsiteX7" fmla="*/ 2426511 w 4790666"/>
              <a:gd name="connsiteY7" fmla="*/ 2604342 h 3349852"/>
              <a:gd name="connsiteX8" fmla="*/ 2296694 w 4790666"/>
              <a:gd name="connsiteY8" fmla="*/ 2597787 h 3349852"/>
              <a:gd name="connsiteX9" fmla="*/ 2298964 w 4790666"/>
              <a:gd name="connsiteY9" fmla="*/ 2593752 h 3349852"/>
              <a:gd name="connsiteX10" fmla="*/ 3890272 w 4790666"/>
              <a:gd name="connsiteY10" fmla="*/ 347186 h 3349852"/>
              <a:gd name="connsiteX11" fmla="*/ 3898742 w 4790666"/>
              <a:gd name="connsiteY11" fmla="*/ 347486 h 3349852"/>
              <a:gd name="connsiteX12" fmla="*/ 3921531 w 4790666"/>
              <a:gd name="connsiteY12" fmla="*/ 394792 h 3349852"/>
              <a:gd name="connsiteX13" fmla="*/ 3937665 w 4790666"/>
              <a:gd name="connsiteY13" fmla="*/ 438874 h 3349852"/>
              <a:gd name="connsiteX14" fmla="*/ 3890272 w 4790666"/>
              <a:gd name="connsiteY14" fmla="*/ 347186 h 3349852"/>
              <a:gd name="connsiteX15" fmla="*/ 4616052 w 4790666"/>
              <a:gd name="connsiteY15" fmla="*/ 129557 h 3349852"/>
              <a:gd name="connsiteX16" fmla="*/ 4685663 w 4790666"/>
              <a:gd name="connsiteY16" fmla="*/ 319750 h 3349852"/>
              <a:gd name="connsiteX17" fmla="*/ 4790666 w 4790666"/>
              <a:gd name="connsiteY17" fmla="*/ 1014278 h 3349852"/>
              <a:gd name="connsiteX18" fmla="*/ 2455092 w 4790666"/>
              <a:gd name="connsiteY18" fmla="*/ 3349852 h 3349852"/>
              <a:gd name="connsiteX19" fmla="*/ 2431808 w 4790666"/>
              <a:gd name="connsiteY19" fmla="*/ 3348676 h 3349852"/>
              <a:gd name="connsiteX20" fmla="*/ 2219774 w 4790666"/>
              <a:gd name="connsiteY20" fmla="*/ 2971802 h 3349852"/>
              <a:gd name="connsiteX21" fmla="*/ 2426511 w 4790666"/>
              <a:gd name="connsiteY21" fmla="*/ 2604342 h 3349852"/>
              <a:gd name="connsiteX22" fmla="*/ 2455092 w 4790666"/>
              <a:gd name="connsiteY22" fmla="*/ 2605785 h 3349852"/>
              <a:gd name="connsiteX23" fmla="*/ 4046599 w 4790666"/>
              <a:gd name="connsiteY23" fmla="*/ 1014278 h 3349852"/>
              <a:gd name="connsiteX24" fmla="*/ 3975048 w 4790666"/>
              <a:gd name="connsiteY24" fmla="*/ 541013 h 3349852"/>
              <a:gd name="connsiteX25" fmla="*/ 3937665 w 4790666"/>
              <a:gd name="connsiteY25" fmla="*/ 438874 h 3349852"/>
              <a:gd name="connsiteX26" fmla="*/ 3951575 w 4790666"/>
              <a:gd name="connsiteY26" fmla="*/ 465784 h 3349852"/>
              <a:gd name="connsiteX27" fmla="*/ 4385078 w 4790666"/>
              <a:gd name="connsiteY27" fmla="*/ 481137 h 3349852"/>
              <a:gd name="connsiteX28" fmla="*/ 4616052 w 4790666"/>
              <a:gd name="connsiteY28" fmla="*/ 129557 h 3349852"/>
              <a:gd name="connsiteX29" fmla="*/ 323056 w 4790666"/>
              <a:gd name="connsiteY29" fmla="*/ 63656 h 3349852"/>
              <a:gd name="connsiteX30" fmla="*/ 863585 w 4790666"/>
              <a:gd name="connsiteY30" fmla="*/ 1014278 h 3349852"/>
              <a:gd name="connsiteX31" fmla="*/ 2292370 w 4790666"/>
              <a:gd name="connsiteY31" fmla="*/ 2597568 h 3349852"/>
              <a:gd name="connsiteX32" fmla="*/ 2296694 w 4790666"/>
              <a:gd name="connsiteY32" fmla="*/ 2597787 h 3349852"/>
              <a:gd name="connsiteX33" fmla="*/ 2086269 w 4790666"/>
              <a:gd name="connsiteY33" fmla="*/ 2971802 h 3349852"/>
              <a:gd name="connsiteX34" fmla="*/ 2294399 w 4790666"/>
              <a:gd name="connsiteY34" fmla="*/ 3341738 h 3349852"/>
              <a:gd name="connsiteX35" fmla="*/ 2216293 w 4790666"/>
              <a:gd name="connsiteY35" fmla="*/ 3337794 h 3349852"/>
              <a:gd name="connsiteX36" fmla="*/ 119518 w 4790666"/>
              <a:gd name="connsiteY36" fmla="*/ 1014278 h 3349852"/>
              <a:gd name="connsiteX37" fmla="*/ 323056 w 4790666"/>
              <a:gd name="connsiteY37" fmla="*/ 63656 h 3349852"/>
              <a:gd name="connsiteX38" fmla="*/ 4561948 w 4790666"/>
              <a:gd name="connsiteY38" fmla="*/ 0 h 3349852"/>
              <a:gd name="connsiteX39" fmla="*/ 4623251 w 4790666"/>
              <a:gd name="connsiteY39" fmla="*/ 118598 h 3349852"/>
              <a:gd name="connsiteX40" fmla="*/ 4616052 w 4790666"/>
              <a:gd name="connsiteY40" fmla="*/ 129557 h 3349852"/>
              <a:gd name="connsiteX41" fmla="*/ 4607125 w 4790666"/>
              <a:gd name="connsiteY41" fmla="*/ 105167 h 3349852"/>
              <a:gd name="connsiteX42" fmla="*/ 4558784 w 4790666"/>
              <a:gd name="connsiteY42" fmla="*/ 4817 h 3349852"/>
              <a:gd name="connsiteX43" fmla="*/ 4561948 w 4790666"/>
              <a:gd name="connsiteY43" fmla="*/ 0 h 3349852"/>
              <a:gd name="connsiteX0" fmla="*/ 2223757 w 4720024"/>
              <a:gd name="connsiteY0" fmla="*/ 3341738 h 3349852"/>
              <a:gd name="connsiteX1" fmla="*/ 2361166 w 4720024"/>
              <a:gd name="connsiteY1" fmla="*/ 3348676 h 3349852"/>
              <a:gd name="connsiteX2" fmla="*/ 2361827 w 4720024"/>
              <a:gd name="connsiteY2" fmla="*/ 3349852 h 3349852"/>
              <a:gd name="connsiteX3" fmla="*/ 2228322 w 4720024"/>
              <a:gd name="connsiteY3" fmla="*/ 3349852 h 3349852"/>
              <a:gd name="connsiteX4" fmla="*/ 2223757 w 4720024"/>
              <a:gd name="connsiteY4" fmla="*/ 3341738 h 3349852"/>
              <a:gd name="connsiteX5" fmla="*/ 2228322 w 4720024"/>
              <a:gd name="connsiteY5" fmla="*/ 2593752 h 3349852"/>
              <a:gd name="connsiteX6" fmla="*/ 2361827 w 4720024"/>
              <a:gd name="connsiteY6" fmla="*/ 2593752 h 3349852"/>
              <a:gd name="connsiteX7" fmla="*/ 2355869 w 4720024"/>
              <a:gd name="connsiteY7" fmla="*/ 2604342 h 3349852"/>
              <a:gd name="connsiteX8" fmla="*/ 2226052 w 4720024"/>
              <a:gd name="connsiteY8" fmla="*/ 2597787 h 3349852"/>
              <a:gd name="connsiteX9" fmla="*/ 2228322 w 4720024"/>
              <a:gd name="connsiteY9" fmla="*/ 2593752 h 3349852"/>
              <a:gd name="connsiteX10" fmla="*/ 3819630 w 4720024"/>
              <a:gd name="connsiteY10" fmla="*/ 347186 h 3349852"/>
              <a:gd name="connsiteX11" fmla="*/ 3828100 w 4720024"/>
              <a:gd name="connsiteY11" fmla="*/ 347486 h 3349852"/>
              <a:gd name="connsiteX12" fmla="*/ 3850889 w 4720024"/>
              <a:gd name="connsiteY12" fmla="*/ 394792 h 3349852"/>
              <a:gd name="connsiteX13" fmla="*/ 3867023 w 4720024"/>
              <a:gd name="connsiteY13" fmla="*/ 438874 h 3349852"/>
              <a:gd name="connsiteX14" fmla="*/ 3819630 w 4720024"/>
              <a:gd name="connsiteY14" fmla="*/ 347186 h 3349852"/>
              <a:gd name="connsiteX15" fmla="*/ 4545410 w 4720024"/>
              <a:gd name="connsiteY15" fmla="*/ 129557 h 3349852"/>
              <a:gd name="connsiteX16" fmla="*/ 4615021 w 4720024"/>
              <a:gd name="connsiteY16" fmla="*/ 319750 h 3349852"/>
              <a:gd name="connsiteX17" fmla="*/ 4720024 w 4720024"/>
              <a:gd name="connsiteY17" fmla="*/ 1014278 h 3349852"/>
              <a:gd name="connsiteX18" fmla="*/ 2384450 w 4720024"/>
              <a:gd name="connsiteY18" fmla="*/ 3349852 h 3349852"/>
              <a:gd name="connsiteX19" fmla="*/ 2361166 w 4720024"/>
              <a:gd name="connsiteY19" fmla="*/ 3348676 h 3349852"/>
              <a:gd name="connsiteX20" fmla="*/ 2149132 w 4720024"/>
              <a:gd name="connsiteY20" fmla="*/ 2971802 h 3349852"/>
              <a:gd name="connsiteX21" fmla="*/ 2355869 w 4720024"/>
              <a:gd name="connsiteY21" fmla="*/ 2604342 h 3349852"/>
              <a:gd name="connsiteX22" fmla="*/ 2384450 w 4720024"/>
              <a:gd name="connsiteY22" fmla="*/ 2605785 h 3349852"/>
              <a:gd name="connsiteX23" fmla="*/ 3975957 w 4720024"/>
              <a:gd name="connsiteY23" fmla="*/ 1014278 h 3349852"/>
              <a:gd name="connsiteX24" fmla="*/ 3904406 w 4720024"/>
              <a:gd name="connsiteY24" fmla="*/ 541013 h 3349852"/>
              <a:gd name="connsiteX25" fmla="*/ 3867023 w 4720024"/>
              <a:gd name="connsiteY25" fmla="*/ 438874 h 3349852"/>
              <a:gd name="connsiteX26" fmla="*/ 3880933 w 4720024"/>
              <a:gd name="connsiteY26" fmla="*/ 465784 h 3349852"/>
              <a:gd name="connsiteX27" fmla="*/ 4314436 w 4720024"/>
              <a:gd name="connsiteY27" fmla="*/ 481137 h 3349852"/>
              <a:gd name="connsiteX28" fmla="*/ 4545410 w 4720024"/>
              <a:gd name="connsiteY28" fmla="*/ 129557 h 3349852"/>
              <a:gd name="connsiteX29" fmla="*/ 48876 w 4720024"/>
              <a:gd name="connsiteY29" fmla="*/ 1014278 h 3349852"/>
              <a:gd name="connsiteX30" fmla="*/ 792943 w 4720024"/>
              <a:gd name="connsiteY30" fmla="*/ 1014278 h 3349852"/>
              <a:gd name="connsiteX31" fmla="*/ 2221728 w 4720024"/>
              <a:gd name="connsiteY31" fmla="*/ 2597568 h 3349852"/>
              <a:gd name="connsiteX32" fmla="*/ 2226052 w 4720024"/>
              <a:gd name="connsiteY32" fmla="*/ 2597787 h 3349852"/>
              <a:gd name="connsiteX33" fmla="*/ 2015627 w 4720024"/>
              <a:gd name="connsiteY33" fmla="*/ 2971802 h 3349852"/>
              <a:gd name="connsiteX34" fmla="*/ 2223757 w 4720024"/>
              <a:gd name="connsiteY34" fmla="*/ 3341738 h 3349852"/>
              <a:gd name="connsiteX35" fmla="*/ 2145651 w 4720024"/>
              <a:gd name="connsiteY35" fmla="*/ 3337794 h 3349852"/>
              <a:gd name="connsiteX36" fmla="*/ 48876 w 4720024"/>
              <a:gd name="connsiteY36" fmla="*/ 1014278 h 3349852"/>
              <a:gd name="connsiteX37" fmla="*/ 4491306 w 4720024"/>
              <a:gd name="connsiteY37" fmla="*/ 0 h 3349852"/>
              <a:gd name="connsiteX38" fmla="*/ 4552609 w 4720024"/>
              <a:gd name="connsiteY38" fmla="*/ 118598 h 3349852"/>
              <a:gd name="connsiteX39" fmla="*/ 4545410 w 4720024"/>
              <a:gd name="connsiteY39" fmla="*/ 129557 h 3349852"/>
              <a:gd name="connsiteX40" fmla="*/ 4536483 w 4720024"/>
              <a:gd name="connsiteY40" fmla="*/ 105167 h 3349852"/>
              <a:gd name="connsiteX41" fmla="*/ 4488142 w 4720024"/>
              <a:gd name="connsiteY41" fmla="*/ 4817 h 3349852"/>
              <a:gd name="connsiteX42" fmla="*/ 4491306 w 4720024"/>
              <a:gd name="connsiteY42" fmla="*/ 0 h 3349852"/>
              <a:gd name="connsiteX0" fmla="*/ 2223757 w 4720024"/>
              <a:gd name="connsiteY0" fmla="*/ 3341738 h 3349852"/>
              <a:gd name="connsiteX1" fmla="*/ 2361166 w 4720024"/>
              <a:gd name="connsiteY1" fmla="*/ 3348676 h 3349852"/>
              <a:gd name="connsiteX2" fmla="*/ 2361827 w 4720024"/>
              <a:gd name="connsiteY2" fmla="*/ 3349852 h 3349852"/>
              <a:gd name="connsiteX3" fmla="*/ 2228322 w 4720024"/>
              <a:gd name="connsiteY3" fmla="*/ 3349852 h 3349852"/>
              <a:gd name="connsiteX4" fmla="*/ 2223757 w 4720024"/>
              <a:gd name="connsiteY4" fmla="*/ 3341738 h 3349852"/>
              <a:gd name="connsiteX5" fmla="*/ 2228322 w 4720024"/>
              <a:gd name="connsiteY5" fmla="*/ 2593752 h 3349852"/>
              <a:gd name="connsiteX6" fmla="*/ 2361827 w 4720024"/>
              <a:gd name="connsiteY6" fmla="*/ 2593752 h 3349852"/>
              <a:gd name="connsiteX7" fmla="*/ 2355869 w 4720024"/>
              <a:gd name="connsiteY7" fmla="*/ 2604342 h 3349852"/>
              <a:gd name="connsiteX8" fmla="*/ 2226052 w 4720024"/>
              <a:gd name="connsiteY8" fmla="*/ 2597787 h 3349852"/>
              <a:gd name="connsiteX9" fmla="*/ 2228322 w 4720024"/>
              <a:gd name="connsiteY9" fmla="*/ 2593752 h 3349852"/>
              <a:gd name="connsiteX10" fmla="*/ 3819630 w 4720024"/>
              <a:gd name="connsiteY10" fmla="*/ 347186 h 3349852"/>
              <a:gd name="connsiteX11" fmla="*/ 3828100 w 4720024"/>
              <a:gd name="connsiteY11" fmla="*/ 347486 h 3349852"/>
              <a:gd name="connsiteX12" fmla="*/ 3850889 w 4720024"/>
              <a:gd name="connsiteY12" fmla="*/ 394792 h 3349852"/>
              <a:gd name="connsiteX13" fmla="*/ 3867023 w 4720024"/>
              <a:gd name="connsiteY13" fmla="*/ 438874 h 3349852"/>
              <a:gd name="connsiteX14" fmla="*/ 3819630 w 4720024"/>
              <a:gd name="connsiteY14" fmla="*/ 347186 h 3349852"/>
              <a:gd name="connsiteX15" fmla="*/ 4545410 w 4720024"/>
              <a:gd name="connsiteY15" fmla="*/ 129557 h 3349852"/>
              <a:gd name="connsiteX16" fmla="*/ 4615021 w 4720024"/>
              <a:gd name="connsiteY16" fmla="*/ 319750 h 3349852"/>
              <a:gd name="connsiteX17" fmla="*/ 4720024 w 4720024"/>
              <a:gd name="connsiteY17" fmla="*/ 1014278 h 3349852"/>
              <a:gd name="connsiteX18" fmla="*/ 2384450 w 4720024"/>
              <a:gd name="connsiteY18" fmla="*/ 3349852 h 3349852"/>
              <a:gd name="connsiteX19" fmla="*/ 2361166 w 4720024"/>
              <a:gd name="connsiteY19" fmla="*/ 3348676 h 3349852"/>
              <a:gd name="connsiteX20" fmla="*/ 2149132 w 4720024"/>
              <a:gd name="connsiteY20" fmla="*/ 2971802 h 3349852"/>
              <a:gd name="connsiteX21" fmla="*/ 2355869 w 4720024"/>
              <a:gd name="connsiteY21" fmla="*/ 2604342 h 3349852"/>
              <a:gd name="connsiteX22" fmla="*/ 2384450 w 4720024"/>
              <a:gd name="connsiteY22" fmla="*/ 2605785 h 3349852"/>
              <a:gd name="connsiteX23" fmla="*/ 3975957 w 4720024"/>
              <a:gd name="connsiteY23" fmla="*/ 1014278 h 3349852"/>
              <a:gd name="connsiteX24" fmla="*/ 3904406 w 4720024"/>
              <a:gd name="connsiteY24" fmla="*/ 541013 h 3349852"/>
              <a:gd name="connsiteX25" fmla="*/ 3867023 w 4720024"/>
              <a:gd name="connsiteY25" fmla="*/ 438874 h 3349852"/>
              <a:gd name="connsiteX26" fmla="*/ 3880933 w 4720024"/>
              <a:gd name="connsiteY26" fmla="*/ 465784 h 3349852"/>
              <a:gd name="connsiteX27" fmla="*/ 4314436 w 4720024"/>
              <a:gd name="connsiteY27" fmla="*/ 481137 h 3349852"/>
              <a:gd name="connsiteX28" fmla="*/ 4545410 w 4720024"/>
              <a:gd name="connsiteY28" fmla="*/ 129557 h 3349852"/>
              <a:gd name="connsiteX29" fmla="*/ 48876 w 4720024"/>
              <a:gd name="connsiteY29" fmla="*/ 1014278 h 3349852"/>
              <a:gd name="connsiteX30" fmla="*/ 792943 w 4720024"/>
              <a:gd name="connsiteY30" fmla="*/ 1014278 h 3349852"/>
              <a:gd name="connsiteX31" fmla="*/ 2221728 w 4720024"/>
              <a:gd name="connsiteY31" fmla="*/ 2597568 h 3349852"/>
              <a:gd name="connsiteX32" fmla="*/ 2015627 w 4720024"/>
              <a:gd name="connsiteY32" fmla="*/ 2971802 h 3349852"/>
              <a:gd name="connsiteX33" fmla="*/ 2223757 w 4720024"/>
              <a:gd name="connsiteY33" fmla="*/ 3341738 h 3349852"/>
              <a:gd name="connsiteX34" fmla="*/ 2145651 w 4720024"/>
              <a:gd name="connsiteY34" fmla="*/ 3337794 h 3349852"/>
              <a:gd name="connsiteX35" fmla="*/ 48876 w 4720024"/>
              <a:gd name="connsiteY35" fmla="*/ 1014278 h 3349852"/>
              <a:gd name="connsiteX36" fmla="*/ 4491306 w 4720024"/>
              <a:gd name="connsiteY36" fmla="*/ 0 h 3349852"/>
              <a:gd name="connsiteX37" fmla="*/ 4552609 w 4720024"/>
              <a:gd name="connsiteY37" fmla="*/ 118598 h 3349852"/>
              <a:gd name="connsiteX38" fmla="*/ 4545410 w 4720024"/>
              <a:gd name="connsiteY38" fmla="*/ 129557 h 3349852"/>
              <a:gd name="connsiteX39" fmla="*/ 4536483 w 4720024"/>
              <a:gd name="connsiteY39" fmla="*/ 105167 h 3349852"/>
              <a:gd name="connsiteX40" fmla="*/ 4488142 w 4720024"/>
              <a:gd name="connsiteY40" fmla="*/ 4817 h 3349852"/>
              <a:gd name="connsiteX41" fmla="*/ 4491306 w 4720024"/>
              <a:gd name="connsiteY41" fmla="*/ 0 h 3349852"/>
              <a:gd name="connsiteX0" fmla="*/ 2175009 w 4671276"/>
              <a:gd name="connsiteY0" fmla="*/ 3341738 h 3349852"/>
              <a:gd name="connsiteX1" fmla="*/ 2312418 w 4671276"/>
              <a:gd name="connsiteY1" fmla="*/ 3348676 h 3349852"/>
              <a:gd name="connsiteX2" fmla="*/ 2313079 w 4671276"/>
              <a:gd name="connsiteY2" fmla="*/ 3349852 h 3349852"/>
              <a:gd name="connsiteX3" fmla="*/ 2179574 w 4671276"/>
              <a:gd name="connsiteY3" fmla="*/ 3349852 h 3349852"/>
              <a:gd name="connsiteX4" fmla="*/ 2175009 w 4671276"/>
              <a:gd name="connsiteY4" fmla="*/ 3341738 h 3349852"/>
              <a:gd name="connsiteX5" fmla="*/ 2179574 w 4671276"/>
              <a:gd name="connsiteY5" fmla="*/ 2593752 h 3349852"/>
              <a:gd name="connsiteX6" fmla="*/ 2313079 w 4671276"/>
              <a:gd name="connsiteY6" fmla="*/ 2593752 h 3349852"/>
              <a:gd name="connsiteX7" fmla="*/ 2307121 w 4671276"/>
              <a:gd name="connsiteY7" fmla="*/ 2604342 h 3349852"/>
              <a:gd name="connsiteX8" fmla="*/ 2177304 w 4671276"/>
              <a:gd name="connsiteY8" fmla="*/ 2597787 h 3349852"/>
              <a:gd name="connsiteX9" fmla="*/ 2179574 w 4671276"/>
              <a:gd name="connsiteY9" fmla="*/ 2593752 h 3349852"/>
              <a:gd name="connsiteX10" fmla="*/ 3770882 w 4671276"/>
              <a:gd name="connsiteY10" fmla="*/ 347186 h 3349852"/>
              <a:gd name="connsiteX11" fmla="*/ 3779352 w 4671276"/>
              <a:gd name="connsiteY11" fmla="*/ 347486 h 3349852"/>
              <a:gd name="connsiteX12" fmla="*/ 3802141 w 4671276"/>
              <a:gd name="connsiteY12" fmla="*/ 394792 h 3349852"/>
              <a:gd name="connsiteX13" fmla="*/ 3818275 w 4671276"/>
              <a:gd name="connsiteY13" fmla="*/ 438874 h 3349852"/>
              <a:gd name="connsiteX14" fmla="*/ 3770882 w 4671276"/>
              <a:gd name="connsiteY14" fmla="*/ 347186 h 3349852"/>
              <a:gd name="connsiteX15" fmla="*/ 4496662 w 4671276"/>
              <a:gd name="connsiteY15" fmla="*/ 129557 h 3349852"/>
              <a:gd name="connsiteX16" fmla="*/ 4566273 w 4671276"/>
              <a:gd name="connsiteY16" fmla="*/ 319750 h 3349852"/>
              <a:gd name="connsiteX17" fmla="*/ 4671276 w 4671276"/>
              <a:gd name="connsiteY17" fmla="*/ 1014278 h 3349852"/>
              <a:gd name="connsiteX18" fmla="*/ 2335702 w 4671276"/>
              <a:gd name="connsiteY18" fmla="*/ 3349852 h 3349852"/>
              <a:gd name="connsiteX19" fmla="*/ 2312418 w 4671276"/>
              <a:gd name="connsiteY19" fmla="*/ 3348676 h 3349852"/>
              <a:gd name="connsiteX20" fmla="*/ 2100384 w 4671276"/>
              <a:gd name="connsiteY20" fmla="*/ 2971802 h 3349852"/>
              <a:gd name="connsiteX21" fmla="*/ 2307121 w 4671276"/>
              <a:gd name="connsiteY21" fmla="*/ 2604342 h 3349852"/>
              <a:gd name="connsiteX22" fmla="*/ 2335702 w 4671276"/>
              <a:gd name="connsiteY22" fmla="*/ 2605785 h 3349852"/>
              <a:gd name="connsiteX23" fmla="*/ 3927209 w 4671276"/>
              <a:gd name="connsiteY23" fmla="*/ 1014278 h 3349852"/>
              <a:gd name="connsiteX24" fmla="*/ 3855658 w 4671276"/>
              <a:gd name="connsiteY24" fmla="*/ 541013 h 3349852"/>
              <a:gd name="connsiteX25" fmla="*/ 3818275 w 4671276"/>
              <a:gd name="connsiteY25" fmla="*/ 438874 h 3349852"/>
              <a:gd name="connsiteX26" fmla="*/ 3832185 w 4671276"/>
              <a:gd name="connsiteY26" fmla="*/ 465784 h 3349852"/>
              <a:gd name="connsiteX27" fmla="*/ 4265688 w 4671276"/>
              <a:gd name="connsiteY27" fmla="*/ 481137 h 3349852"/>
              <a:gd name="connsiteX28" fmla="*/ 4496662 w 4671276"/>
              <a:gd name="connsiteY28" fmla="*/ 129557 h 3349852"/>
              <a:gd name="connsiteX29" fmla="*/ 128 w 4671276"/>
              <a:gd name="connsiteY29" fmla="*/ 1014278 h 3349852"/>
              <a:gd name="connsiteX30" fmla="*/ 2172980 w 4671276"/>
              <a:gd name="connsiteY30" fmla="*/ 2597568 h 3349852"/>
              <a:gd name="connsiteX31" fmla="*/ 1966879 w 4671276"/>
              <a:gd name="connsiteY31" fmla="*/ 2971802 h 3349852"/>
              <a:gd name="connsiteX32" fmla="*/ 2175009 w 4671276"/>
              <a:gd name="connsiteY32" fmla="*/ 3341738 h 3349852"/>
              <a:gd name="connsiteX33" fmla="*/ 2096903 w 4671276"/>
              <a:gd name="connsiteY33" fmla="*/ 3337794 h 3349852"/>
              <a:gd name="connsiteX34" fmla="*/ 128 w 4671276"/>
              <a:gd name="connsiteY34" fmla="*/ 1014278 h 3349852"/>
              <a:gd name="connsiteX35" fmla="*/ 4442558 w 4671276"/>
              <a:gd name="connsiteY35" fmla="*/ 0 h 3349852"/>
              <a:gd name="connsiteX36" fmla="*/ 4503861 w 4671276"/>
              <a:gd name="connsiteY36" fmla="*/ 118598 h 3349852"/>
              <a:gd name="connsiteX37" fmla="*/ 4496662 w 4671276"/>
              <a:gd name="connsiteY37" fmla="*/ 129557 h 3349852"/>
              <a:gd name="connsiteX38" fmla="*/ 4487735 w 4671276"/>
              <a:gd name="connsiteY38" fmla="*/ 105167 h 3349852"/>
              <a:gd name="connsiteX39" fmla="*/ 4439394 w 4671276"/>
              <a:gd name="connsiteY39" fmla="*/ 4817 h 3349852"/>
              <a:gd name="connsiteX40" fmla="*/ 4442558 w 4671276"/>
              <a:gd name="connsiteY40" fmla="*/ 0 h 3349852"/>
              <a:gd name="connsiteX0" fmla="*/ 208130 w 2704397"/>
              <a:gd name="connsiteY0" fmla="*/ 3341738 h 3349852"/>
              <a:gd name="connsiteX1" fmla="*/ 345539 w 2704397"/>
              <a:gd name="connsiteY1" fmla="*/ 3348676 h 3349852"/>
              <a:gd name="connsiteX2" fmla="*/ 346200 w 2704397"/>
              <a:gd name="connsiteY2" fmla="*/ 3349852 h 3349852"/>
              <a:gd name="connsiteX3" fmla="*/ 212695 w 2704397"/>
              <a:gd name="connsiteY3" fmla="*/ 3349852 h 3349852"/>
              <a:gd name="connsiteX4" fmla="*/ 208130 w 2704397"/>
              <a:gd name="connsiteY4" fmla="*/ 3341738 h 3349852"/>
              <a:gd name="connsiteX5" fmla="*/ 212695 w 2704397"/>
              <a:gd name="connsiteY5" fmla="*/ 2593752 h 3349852"/>
              <a:gd name="connsiteX6" fmla="*/ 346200 w 2704397"/>
              <a:gd name="connsiteY6" fmla="*/ 2593752 h 3349852"/>
              <a:gd name="connsiteX7" fmla="*/ 340242 w 2704397"/>
              <a:gd name="connsiteY7" fmla="*/ 2604342 h 3349852"/>
              <a:gd name="connsiteX8" fmla="*/ 210425 w 2704397"/>
              <a:gd name="connsiteY8" fmla="*/ 2597787 h 3349852"/>
              <a:gd name="connsiteX9" fmla="*/ 212695 w 2704397"/>
              <a:gd name="connsiteY9" fmla="*/ 2593752 h 3349852"/>
              <a:gd name="connsiteX10" fmla="*/ 1804003 w 2704397"/>
              <a:gd name="connsiteY10" fmla="*/ 347186 h 3349852"/>
              <a:gd name="connsiteX11" fmla="*/ 1812473 w 2704397"/>
              <a:gd name="connsiteY11" fmla="*/ 347486 h 3349852"/>
              <a:gd name="connsiteX12" fmla="*/ 1835262 w 2704397"/>
              <a:gd name="connsiteY12" fmla="*/ 394792 h 3349852"/>
              <a:gd name="connsiteX13" fmla="*/ 1851396 w 2704397"/>
              <a:gd name="connsiteY13" fmla="*/ 438874 h 3349852"/>
              <a:gd name="connsiteX14" fmla="*/ 1804003 w 2704397"/>
              <a:gd name="connsiteY14" fmla="*/ 347186 h 3349852"/>
              <a:gd name="connsiteX15" fmla="*/ 2529783 w 2704397"/>
              <a:gd name="connsiteY15" fmla="*/ 129557 h 3349852"/>
              <a:gd name="connsiteX16" fmla="*/ 2599394 w 2704397"/>
              <a:gd name="connsiteY16" fmla="*/ 319750 h 3349852"/>
              <a:gd name="connsiteX17" fmla="*/ 2704397 w 2704397"/>
              <a:gd name="connsiteY17" fmla="*/ 1014278 h 3349852"/>
              <a:gd name="connsiteX18" fmla="*/ 368823 w 2704397"/>
              <a:gd name="connsiteY18" fmla="*/ 3349852 h 3349852"/>
              <a:gd name="connsiteX19" fmla="*/ 345539 w 2704397"/>
              <a:gd name="connsiteY19" fmla="*/ 3348676 h 3349852"/>
              <a:gd name="connsiteX20" fmla="*/ 133505 w 2704397"/>
              <a:gd name="connsiteY20" fmla="*/ 2971802 h 3349852"/>
              <a:gd name="connsiteX21" fmla="*/ 340242 w 2704397"/>
              <a:gd name="connsiteY21" fmla="*/ 2604342 h 3349852"/>
              <a:gd name="connsiteX22" fmla="*/ 368823 w 2704397"/>
              <a:gd name="connsiteY22" fmla="*/ 2605785 h 3349852"/>
              <a:gd name="connsiteX23" fmla="*/ 1960330 w 2704397"/>
              <a:gd name="connsiteY23" fmla="*/ 1014278 h 3349852"/>
              <a:gd name="connsiteX24" fmla="*/ 1888779 w 2704397"/>
              <a:gd name="connsiteY24" fmla="*/ 541013 h 3349852"/>
              <a:gd name="connsiteX25" fmla="*/ 1851396 w 2704397"/>
              <a:gd name="connsiteY25" fmla="*/ 438874 h 3349852"/>
              <a:gd name="connsiteX26" fmla="*/ 1865306 w 2704397"/>
              <a:gd name="connsiteY26" fmla="*/ 465784 h 3349852"/>
              <a:gd name="connsiteX27" fmla="*/ 2298809 w 2704397"/>
              <a:gd name="connsiteY27" fmla="*/ 481137 h 3349852"/>
              <a:gd name="connsiteX28" fmla="*/ 2529783 w 2704397"/>
              <a:gd name="connsiteY28" fmla="*/ 129557 h 3349852"/>
              <a:gd name="connsiteX29" fmla="*/ 130024 w 2704397"/>
              <a:gd name="connsiteY29" fmla="*/ 3337794 h 3349852"/>
              <a:gd name="connsiteX30" fmla="*/ 206101 w 2704397"/>
              <a:gd name="connsiteY30" fmla="*/ 2597568 h 3349852"/>
              <a:gd name="connsiteX31" fmla="*/ 0 w 2704397"/>
              <a:gd name="connsiteY31" fmla="*/ 2971802 h 3349852"/>
              <a:gd name="connsiteX32" fmla="*/ 208130 w 2704397"/>
              <a:gd name="connsiteY32" fmla="*/ 3341738 h 3349852"/>
              <a:gd name="connsiteX33" fmla="*/ 130024 w 2704397"/>
              <a:gd name="connsiteY33" fmla="*/ 3337794 h 3349852"/>
              <a:gd name="connsiteX34" fmla="*/ 2475679 w 2704397"/>
              <a:gd name="connsiteY34" fmla="*/ 0 h 3349852"/>
              <a:gd name="connsiteX35" fmla="*/ 2536982 w 2704397"/>
              <a:gd name="connsiteY35" fmla="*/ 118598 h 3349852"/>
              <a:gd name="connsiteX36" fmla="*/ 2529783 w 2704397"/>
              <a:gd name="connsiteY36" fmla="*/ 129557 h 3349852"/>
              <a:gd name="connsiteX37" fmla="*/ 2520856 w 2704397"/>
              <a:gd name="connsiteY37" fmla="*/ 105167 h 3349852"/>
              <a:gd name="connsiteX38" fmla="*/ 2472515 w 2704397"/>
              <a:gd name="connsiteY38" fmla="*/ 4817 h 3349852"/>
              <a:gd name="connsiteX39" fmla="*/ 2475679 w 2704397"/>
              <a:gd name="connsiteY39" fmla="*/ 0 h 3349852"/>
              <a:gd name="connsiteX0" fmla="*/ 209209 w 2705476"/>
              <a:gd name="connsiteY0" fmla="*/ 3341738 h 3349852"/>
              <a:gd name="connsiteX1" fmla="*/ 346618 w 2705476"/>
              <a:gd name="connsiteY1" fmla="*/ 3348676 h 3349852"/>
              <a:gd name="connsiteX2" fmla="*/ 347279 w 2705476"/>
              <a:gd name="connsiteY2" fmla="*/ 3349852 h 3349852"/>
              <a:gd name="connsiteX3" fmla="*/ 213774 w 2705476"/>
              <a:gd name="connsiteY3" fmla="*/ 3349852 h 3349852"/>
              <a:gd name="connsiteX4" fmla="*/ 209209 w 2705476"/>
              <a:gd name="connsiteY4" fmla="*/ 3341738 h 3349852"/>
              <a:gd name="connsiteX5" fmla="*/ 213774 w 2705476"/>
              <a:gd name="connsiteY5" fmla="*/ 2593752 h 3349852"/>
              <a:gd name="connsiteX6" fmla="*/ 347279 w 2705476"/>
              <a:gd name="connsiteY6" fmla="*/ 2593752 h 3349852"/>
              <a:gd name="connsiteX7" fmla="*/ 341321 w 2705476"/>
              <a:gd name="connsiteY7" fmla="*/ 2604342 h 3349852"/>
              <a:gd name="connsiteX8" fmla="*/ 211504 w 2705476"/>
              <a:gd name="connsiteY8" fmla="*/ 2597787 h 3349852"/>
              <a:gd name="connsiteX9" fmla="*/ 213774 w 2705476"/>
              <a:gd name="connsiteY9" fmla="*/ 2593752 h 3349852"/>
              <a:gd name="connsiteX10" fmla="*/ 1805082 w 2705476"/>
              <a:gd name="connsiteY10" fmla="*/ 347186 h 3349852"/>
              <a:gd name="connsiteX11" fmla="*/ 1813552 w 2705476"/>
              <a:gd name="connsiteY11" fmla="*/ 347486 h 3349852"/>
              <a:gd name="connsiteX12" fmla="*/ 1836341 w 2705476"/>
              <a:gd name="connsiteY12" fmla="*/ 394792 h 3349852"/>
              <a:gd name="connsiteX13" fmla="*/ 1852475 w 2705476"/>
              <a:gd name="connsiteY13" fmla="*/ 438874 h 3349852"/>
              <a:gd name="connsiteX14" fmla="*/ 1805082 w 2705476"/>
              <a:gd name="connsiteY14" fmla="*/ 347186 h 3349852"/>
              <a:gd name="connsiteX15" fmla="*/ 2530862 w 2705476"/>
              <a:gd name="connsiteY15" fmla="*/ 129557 h 3349852"/>
              <a:gd name="connsiteX16" fmla="*/ 2600473 w 2705476"/>
              <a:gd name="connsiteY16" fmla="*/ 319750 h 3349852"/>
              <a:gd name="connsiteX17" fmla="*/ 2705476 w 2705476"/>
              <a:gd name="connsiteY17" fmla="*/ 1014278 h 3349852"/>
              <a:gd name="connsiteX18" fmla="*/ 369902 w 2705476"/>
              <a:gd name="connsiteY18" fmla="*/ 3349852 h 3349852"/>
              <a:gd name="connsiteX19" fmla="*/ 346618 w 2705476"/>
              <a:gd name="connsiteY19" fmla="*/ 3348676 h 3349852"/>
              <a:gd name="connsiteX20" fmla="*/ 134584 w 2705476"/>
              <a:gd name="connsiteY20" fmla="*/ 2971802 h 3349852"/>
              <a:gd name="connsiteX21" fmla="*/ 341321 w 2705476"/>
              <a:gd name="connsiteY21" fmla="*/ 2604342 h 3349852"/>
              <a:gd name="connsiteX22" fmla="*/ 369902 w 2705476"/>
              <a:gd name="connsiteY22" fmla="*/ 2605785 h 3349852"/>
              <a:gd name="connsiteX23" fmla="*/ 1961409 w 2705476"/>
              <a:gd name="connsiteY23" fmla="*/ 1014278 h 3349852"/>
              <a:gd name="connsiteX24" fmla="*/ 1889858 w 2705476"/>
              <a:gd name="connsiteY24" fmla="*/ 541013 h 3349852"/>
              <a:gd name="connsiteX25" fmla="*/ 1852475 w 2705476"/>
              <a:gd name="connsiteY25" fmla="*/ 438874 h 3349852"/>
              <a:gd name="connsiteX26" fmla="*/ 1866385 w 2705476"/>
              <a:gd name="connsiteY26" fmla="*/ 465784 h 3349852"/>
              <a:gd name="connsiteX27" fmla="*/ 2299888 w 2705476"/>
              <a:gd name="connsiteY27" fmla="*/ 481137 h 3349852"/>
              <a:gd name="connsiteX28" fmla="*/ 2530862 w 2705476"/>
              <a:gd name="connsiteY28" fmla="*/ 129557 h 3349852"/>
              <a:gd name="connsiteX29" fmla="*/ 131103 w 2705476"/>
              <a:gd name="connsiteY29" fmla="*/ 3337794 h 3349852"/>
              <a:gd name="connsiteX30" fmla="*/ 1079 w 2705476"/>
              <a:gd name="connsiteY30" fmla="*/ 2971802 h 3349852"/>
              <a:gd name="connsiteX31" fmla="*/ 209209 w 2705476"/>
              <a:gd name="connsiteY31" fmla="*/ 3341738 h 3349852"/>
              <a:gd name="connsiteX32" fmla="*/ 131103 w 2705476"/>
              <a:gd name="connsiteY32" fmla="*/ 3337794 h 3349852"/>
              <a:gd name="connsiteX33" fmla="*/ 2476758 w 2705476"/>
              <a:gd name="connsiteY33" fmla="*/ 0 h 3349852"/>
              <a:gd name="connsiteX34" fmla="*/ 2538061 w 2705476"/>
              <a:gd name="connsiteY34" fmla="*/ 118598 h 3349852"/>
              <a:gd name="connsiteX35" fmla="*/ 2530862 w 2705476"/>
              <a:gd name="connsiteY35" fmla="*/ 129557 h 3349852"/>
              <a:gd name="connsiteX36" fmla="*/ 2521935 w 2705476"/>
              <a:gd name="connsiteY36" fmla="*/ 105167 h 3349852"/>
              <a:gd name="connsiteX37" fmla="*/ 2473594 w 2705476"/>
              <a:gd name="connsiteY37" fmla="*/ 4817 h 3349852"/>
              <a:gd name="connsiteX38" fmla="*/ 2476758 w 2705476"/>
              <a:gd name="connsiteY38" fmla="*/ 0 h 3349852"/>
              <a:gd name="connsiteX0" fmla="*/ 208130 w 2704397"/>
              <a:gd name="connsiteY0" fmla="*/ 3341738 h 3349852"/>
              <a:gd name="connsiteX1" fmla="*/ 345539 w 2704397"/>
              <a:gd name="connsiteY1" fmla="*/ 3348676 h 3349852"/>
              <a:gd name="connsiteX2" fmla="*/ 346200 w 2704397"/>
              <a:gd name="connsiteY2" fmla="*/ 3349852 h 3349852"/>
              <a:gd name="connsiteX3" fmla="*/ 212695 w 2704397"/>
              <a:gd name="connsiteY3" fmla="*/ 3349852 h 3349852"/>
              <a:gd name="connsiteX4" fmla="*/ 208130 w 2704397"/>
              <a:gd name="connsiteY4" fmla="*/ 3341738 h 3349852"/>
              <a:gd name="connsiteX5" fmla="*/ 212695 w 2704397"/>
              <a:gd name="connsiteY5" fmla="*/ 2593752 h 3349852"/>
              <a:gd name="connsiteX6" fmla="*/ 346200 w 2704397"/>
              <a:gd name="connsiteY6" fmla="*/ 2593752 h 3349852"/>
              <a:gd name="connsiteX7" fmla="*/ 340242 w 2704397"/>
              <a:gd name="connsiteY7" fmla="*/ 2604342 h 3349852"/>
              <a:gd name="connsiteX8" fmla="*/ 210425 w 2704397"/>
              <a:gd name="connsiteY8" fmla="*/ 2597787 h 3349852"/>
              <a:gd name="connsiteX9" fmla="*/ 212695 w 2704397"/>
              <a:gd name="connsiteY9" fmla="*/ 2593752 h 3349852"/>
              <a:gd name="connsiteX10" fmla="*/ 1804003 w 2704397"/>
              <a:gd name="connsiteY10" fmla="*/ 347186 h 3349852"/>
              <a:gd name="connsiteX11" fmla="*/ 1812473 w 2704397"/>
              <a:gd name="connsiteY11" fmla="*/ 347486 h 3349852"/>
              <a:gd name="connsiteX12" fmla="*/ 1835262 w 2704397"/>
              <a:gd name="connsiteY12" fmla="*/ 394792 h 3349852"/>
              <a:gd name="connsiteX13" fmla="*/ 1851396 w 2704397"/>
              <a:gd name="connsiteY13" fmla="*/ 438874 h 3349852"/>
              <a:gd name="connsiteX14" fmla="*/ 1804003 w 2704397"/>
              <a:gd name="connsiteY14" fmla="*/ 347186 h 3349852"/>
              <a:gd name="connsiteX15" fmla="*/ 2529783 w 2704397"/>
              <a:gd name="connsiteY15" fmla="*/ 129557 h 3349852"/>
              <a:gd name="connsiteX16" fmla="*/ 2599394 w 2704397"/>
              <a:gd name="connsiteY16" fmla="*/ 319750 h 3349852"/>
              <a:gd name="connsiteX17" fmla="*/ 2704397 w 2704397"/>
              <a:gd name="connsiteY17" fmla="*/ 1014278 h 3349852"/>
              <a:gd name="connsiteX18" fmla="*/ 368823 w 2704397"/>
              <a:gd name="connsiteY18" fmla="*/ 3349852 h 3349852"/>
              <a:gd name="connsiteX19" fmla="*/ 345539 w 2704397"/>
              <a:gd name="connsiteY19" fmla="*/ 3348676 h 3349852"/>
              <a:gd name="connsiteX20" fmla="*/ 133505 w 2704397"/>
              <a:gd name="connsiteY20" fmla="*/ 2971802 h 3349852"/>
              <a:gd name="connsiteX21" fmla="*/ 340242 w 2704397"/>
              <a:gd name="connsiteY21" fmla="*/ 2604342 h 3349852"/>
              <a:gd name="connsiteX22" fmla="*/ 368823 w 2704397"/>
              <a:gd name="connsiteY22" fmla="*/ 2605785 h 3349852"/>
              <a:gd name="connsiteX23" fmla="*/ 1960330 w 2704397"/>
              <a:gd name="connsiteY23" fmla="*/ 1014278 h 3349852"/>
              <a:gd name="connsiteX24" fmla="*/ 1888779 w 2704397"/>
              <a:gd name="connsiteY24" fmla="*/ 541013 h 3349852"/>
              <a:gd name="connsiteX25" fmla="*/ 1851396 w 2704397"/>
              <a:gd name="connsiteY25" fmla="*/ 438874 h 3349852"/>
              <a:gd name="connsiteX26" fmla="*/ 1865306 w 2704397"/>
              <a:gd name="connsiteY26" fmla="*/ 465784 h 3349852"/>
              <a:gd name="connsiteX27" fmla="*/ 2298809 w 2704397"/>
              <a:gd name="connsiteY27" fmla="*/ 481137 h 3349852"/>
              <a:gd name="connsiteX28" fmla="*/ 2529783 w 2704397"/>
              <a:gd name="connsiteY28" fmla="*/ 129557 h 3349852"/>
              <a:gd name="connsiteX29" fmla="*/ 208130 w 2704397"/>
              <a:gd name="connsiteY29" fmla="*/ 3341738 h 3349852"/>
              <a:gd name="connsiteX30" fmla="*/ 0 w 2704397"/>
              <a:gd name="connsiteY30" fmla="*/ 2971802 h 3349852"/>
              <a:gd name="connsiteX31" fmla="*/ 208130 w 2704397"/>
              <a:gd name="connsiteY31" fmla="*/ 3341738 h 3349852"/>
              <a:gd name="connsiteX32" fmla="*/ 2475679 w 2704397"/>
              <a:gd name="connsiteY32" fmla="*/ 0 h 3349852"/>
              <a:gd name="connsiteX33" fmla="*/ 2536982 w 2704397"/>
              <a:gd name="connsiteY33" fmla="*/ 118598 h 3349852"/>
              <a:gd name="connsiteX34" fmla="*/ 2529783 w 2704397"/>
              <a:gd name="connsiteY34" fmla="*/ 129557 h 3349852"/>
              <a:gd name="connsiteX35" fmla="*/ 2520856 w 2704397"/>
              <a:gd name="connsiteY35" fmla="*/ 105167 h 3349852"/>
              <a:gd name="connsiteX36" fmla="*/ 2472515 w 2704397"/>
              <a:gd name="connsiteY36" fmla="*/ 4817 h 3349852"/>
              <a:gd name="connsiteX37" fmla="*/ 2475679 w 2704397"/>
              <a:gd name="connsiteY37" fmla="*/ 0 h 3349852"/>
              <a:gd name="connsiteX0" fmla="*/ 74625 w 2570892"/>
              <a:gd name="connsiteY0" fmla="*/ 3341738 h 3349852"/>
              <a:gd name="connsiteX1" fmla="*/ 212034 w 2570892"/>
              <a:gd name="connsiteY1" fmla="*/ 3348676 h 3349852"/>
              <a:gd name="connsiteX2" fmla="*/ 212695 w 2570892"/>
              <a:gd name="connsiteY2" fmla="*/ 3349852 h 3349852"/>
              <a:gd name="connsiteX3" fmla="*/ 79190 w 2570892"/>
              <a:gd name="connsiteY3" fmla="*/ 3349852 h 3349852"/>
              <a:gd name="connsiteX4" fmla="*/ 74625 w 2570892"/>
              <a:gd name="connsiteY4" fmla="*/ 3341738 h 3349852"/>
              <a:gd name="connsiteX5" fmla="*/ 79190 w 2570892"/>
              <a:gd name="connsiteY5" fmla="*/ 2593752 h 3349852"/>
              <a:gd name="connsiteX6" fmla="*/ 212695 w 2570892"/>
              <a:gd name="connsiteY6" fmla="*/ 2593752 h 3349852"/>
              <a:gd name="connsiteX7" fmla="*/ 206737 w 2570892"/>
              <a:gd name="connsiteY7" fmla="*/ 2604342 h 3349852"/>
              <a:gd name="connsiteX8" fmla="*/ 76920 w 2570892"/>
              <a:gd name="connsiteY8" fmla="*/ 2597787 h 3349852"/>
              <a:gd name="connsiteX9" fmla="*/ 79190 w 2570892"/>
              <a:gd name="connsiteY9" fmla="*/ 2593752 h 3349852"/>
              <a:gd name="connsiteX10" fmla="*/ 1670498 w 2570892"/>
              <a:gd name="connsiteY10" fmla="*/ 347186 h 3349852"/>
              <a:gd name="connsiteX11" fmla="*/ 1678968 w 2570892"/>
              <a:gd name="connsiteY11" fmla="*/ 347486 h 3349852"/>
              <a:gd name="connsiteX12" fmla="*/ 1701757 w 2570892"/>
              <a:gd name="connsiteY12" fmla="*/ 394792 h 3349852"/>
              <a:gd name="connsiteX13" fmla="*/ 1717891 w 2570892"/>
              <a:gd name="connsiteY13" fmla="*/ 438874 h 3349852"/>
              <a:gd name="connsiteX14" fmla="*/ 1670498 w 2570892"/>
              <a:gd name="connsiteY14" fmla="*/ 347186 h 3349852"/>
              <a:gd name="connsiteX15" fmla="*/ 2396278 w 2570892"/>
              <a:gd name="connsiteY15" fmla="*/ 129557 h 3349852"/>
              <a:gd name="connsiteX16" fmla="*/ 2465889 w 2570892"/>
              <a:gd name="connsiteY16" fmla="*/ 319750 h 3349852"/>
              <a:gd name="connsiteX17" fmla="*/ 2570892 w 2570892"/>
              <a:gd name="connsiteY17" fmla="*/ 1014278 h 3349852"/>
              <a:gd name="connsiteX18" fmla="*/ 235318 w 2570892"/>
              <a:gd name="connsiteY18" fmla="*/ 3349852 h 3349852"/>
              <a:gd name="connsiteX19" fmla="*/ 212034 w 2570892"/>
              <a:gd name="connsiteY19" fmla="*/ 3348676 h 3349852"/>
              <a:gd name="connsiteX20" fmla="*/ 0 w 2570892"/>
              <a:gd name="connsiteY20" fmla="*/ 2971802 h 3349852"/>
              <a:gd name="connsiteX21" fmla="*/ 206737 w 2570892"/>
              <a:gd name="connsiteY21" fmla="*/ 2604342 h 3349852"/>
              <a:gd name="connsiteX22" fmla="*/ 235318 w 2570892"/>
              <a:gd name="connsiteY22" fmla="*/ 2605785 h 3349852"/>
              <a:gd name="connsiteX23" fmla="*/ 1826825 w 2570892"/>
              <a:gd name="connsiteY23" fmla="*/ 1014278 h 3349852"/>
              <a:gd name="connsiteX24" fmla="*/ 1755274 w 2570892"/>
              <a:gd name="connsiteY24" fmla="*/ 541013 h 3349852"/>
              <a:gd name="connsiteX25" fmla="*/ 1717891 w 2570892"/>
              <a:gd name="connsiteY25" fmla="*/ 438874 h 3349852"/>
              <a:gd name="connsiteX26" fmla="*/ 1731801 w 2570892"/>
              <a:gd name="connsiteY26" fmla="*/ 465784 h 3349852"/>
              <a:gd name="connsiteX27" fmla="*/ 2165304 w 2570892"/>
              <a:gd name="connsiteY27" fmla="*/ 481137 h 3349852"/>
              <a:gd name="connsiteX28" fmla="*/ 2396278 w 2570892"/>
              <a:gd name="connsiteY28" fmla="*/ 129557 h 3349852"/>
              <a:gd name="connsiteX29" fmla="*/ 2342174 w 2570892"/>
              <a:gd name="connsiteY29" fmla="*/ 0 h 3349852"/>
              <a:gd name="connsiteX30" fmla="*/ 2403477 w 2570892"/>
              <a:gd name="connsiteY30" fmla="*/ 118598 h 3349852"/>
              <a:gd name="connsiteX31" fmla="*/ 2396278 w 2570892"/>
              <a:gd name="connsiteY31" fmla="*/ 129557 h 3349852"/>
              <a:gd name="connsiteX32" fmla="*/ 2387351 w 2570892"/>
              <a:gd name="connsiteY32" fmla="*/ 105167 h 3349852"/>
              <a:gd name="connsiteX33" fmla="*/ 2339010 w 2570892"/>
              <a:gd name="connsiteY33" fmla="*/ 4817 h 3349852"/>
              <a:gd name="connsiteX34" fmla="*/ 2342174 w 2570892"/>
              <a:gd name="connsiteY34" fmla="*/ 0 h 3349852"/>
              <a:gd name="connsiteX0" fmla="*/ 79190 w 2570892"/>
              <a:gd name="connsiteY0" fmla="*/ 3349852 h 3349852"/>
              <a:gd name="connsiteX1" fmla="*/ 212034 w 2570892"/>
              <a:gd name="connsiteY1" fmla="*/ 3348676 h 3349852"/>
              <a:gd name="connsiteX2" fmla="*/ 212695 w 2570892"/>
              <a:gd name="connsiteY2" fmla="*/ 3349852 h 3349852"/>
              <a:gd name="connsiteX3" fmla="*/ 79190 w 2570892"/>
              <a:gd name="connsiteY3" fmla="*/ 3349852 h 3349852"/>
              <a:gd name="connsiteX4" fmla="*/ 79190 w 2570892"/>
              <a:gd name="connsiteY4" fmla="*/ 2593752 h 3349852"/>
              <a:gd name="connsiteX5" fmla="*/ 212695 w 2570892"/>
              <a:gd name="connsiteY5" fmla="*/ 2593752 h 3349852"/>
              <a:gd name="connsiteX6" fmla="*/ 206737 w 2570892"/>
              <a:gd name="connsiteY6" fmla="*/ 2604342 h 3349852"/>
              <a:gd name="connsiteX7" fmla="*/ 76920 w 2570892"/>
              <a:gd name="connsiteY7" fmla="*/ 2597787 h 3349852"/>
              <a:gd name="connsiteX8" fmla="*/ 79190 w 2570892"/>
              <a:gd name="connsiteY8" fmla="*/ 2593752 h 3349852"/>
              <a:gd name="connsiteX9" fmla="*/ 1670498 w 2570892"/>
              <a:gd name="connsiteY9" fmla="*/ 347186 h 3349852"/>
              <a:gd name="connsiteX10" fmla="*/ 1678968 w 2570892"/>
              <a:gd name="connsiteY10" fmla="*/ 347486 h 3349852"/>
              <a:gd name="connsiteX11" fmla="*/ 1701757 w 2570892"/>
              <a:gd name="connsiteY11" fmla="*/ 394792 h 3349852"/>
              <a:gd name="connsiteX12" fmla="*/ 1717891 w 2570892"/>
              <a:gd name="connsiteY12" fmla="*/ 438874 h 3349852"/>
              <a:gd name="connsiteX13" fmla="*/ 1670498 w 2570892"/>
              <a:gd name="connsiteY13" fmla="*/ 347186 h 3349852"/>
              <a:gd name="connsiteX14" fmla="*/ 2396278 w 2570892"/>
              <a:gd name="connsiteY14" fmla="*/ 129557 h 3349852"/>
              <a:gd name="connsiteX15" fmla="*/ 2465889 w 2570892"/>
              <a:gd name="connsiteY15" fmla="*/ 319750 h 3349852"/>
              <a:gd name="connsiteX16" fmla="*/ 2570892 w 2570892"/>
              <a:gd name="connsiteY16" fmla="*/ 1014278 h 3349852"/>
              <a:gd name="connsiteX17" fmla="*/ 235318 w 2570892"/>
              <a:gd name="connsiteY17" fmla="*/ 3349852 h 3349852"/>
              <a:gd name="connsiteX18" fmla="*/ 212034 w 2570892"/>
              <a:gd name="connsiteY18" fmla="*/ 3348676 h 3349852"/>
              <a:gd name="connsiteX19" fmla="*/ 0 w 2570892"/>
              <a:gd name="connsiteY19" fmla="*/ 2971802 h 3349852"/>
              <a:gd name="connsiteX20" fmla="*/ 206737 w 2570892"/>
              <a:gd name="connsiteY20" fmla="*/ 2604342 h 3349852"/>
              <a:gd name="connsiteX21" fmla="*/ 235318 w 2570892"/>
              <a:gd name="connsiteY21" fmla="*/ 2605785 h 3349852"/>
              <a:gd name="connsiteX22" fmla="*/ 1826825 w 2570892"/>
              <a:gd name="connsiteY22" fmla="*/ 1014278 h 3349852"/>
              <a:gd name="connsiteX23" fmla="*/ 1755274 w 2570892"/>
              <a:gd name="connsiteY23" fmla="*/ 541013 h 3349852"/>
              <a:gd name="connsiteX24" fmla="*/ 1717891 w 2570892"/>
              <a:gd name="connsiteY24" fmla="*/ 438874 h 3349852"/>
              <a:gd name="connsiteX25" fmla="*/ 1731801 w 2570892"/>
              <a:gd name="connsiteY25" fmla="*/ 465784 h 3349852"/>
              <a:gd name="connsiteX26" fmla="*/ 2165304 w 2570892"/>
              <a:gd name="connsiteY26" fmla="*/ 481137 h 3349852"/>
              <a:gd name="connsiteX27" fmla="*/ 2396278 w 2570892"/>
              <a:gd name="connsiteY27" fmla="*/ 129557 h 3349852"/>
              <a:gd name="connsiteX28" fmla="*/ 2342174 w 2570892"/>
              <a:gd name="connsiteY28" fmla="*/ 0 h 3349852"/>
              <a:gd name="connsiteX29" fmla="*/ 2403477 w 2570892"/>
              <a:gd name="connsiteY29" fmla="*/ 118598 h 3349852"/>
              <a:gd name="connsiteX30" fmla="*/ 2396278 w 2570892"/>
              <a:gd name="connsiteY30" fmla="*/ 129557 h 3349852"/>
              <a:gd name="connsiteX31" fmla="*/ 2387351 w 2570892"/>
              <a:gd name="connsiteY31" fmla="*/ 105167 h 3349852"/>
              <a:gd name="connsiteX32" fmla="*/ 2339010 w 2570892"/>
              <a:gd name="connsiteY32" fmla="*/ 4817 h 3349852"/>
              <a:gd name="connsiteX33" fmla="*/ 2342174 w 2570892"/>
              <a:gd name="connsiteY33" fmla="*/ 0 h 3349852"/>
              <a:gd name="connsiteX0" fmla="*/ 212695 w 2570892"/>
              <a:gd name="connsiteY0" fmla="*/ 3349852 h 3349852"/>
              <a:gd name="connsiteX1" fmla="*/ 212034 w 2570892"/>
              <a:gd name="connsiteY1" fmla="*/ 3348676 h 3349852"/>
              <a:gd name="connsiteX2" fmla="*/ 212695 w 2570892"/>
              <a:gd name="connsiteY2" fmla="*/ 3349852 h 3349852"/>
              <a:gd name="connsiteX3" fmla="*/ 79190 w 2570892"/>
              <a:gd name="connsiteY3" fmla="*/ 2593752 h 3349852"/>
              <a:gd name="connsiteX4" fmla="*/ 212695 w 2570892"/>
              <a:gd name="connsiteY4" fmla="*/ 2593752 h 3349852"/>
              <a:gd name="connsiteX5" fmla="*/ 206737 w 2570892"/>
              <a:gd name="connsiteY5" fmla="*/ 2604342 h 3349852"/>
              <a:gd name="connsiteX6" fmla="*/ 76920 w 2570892"/>
              <a:gd name="connsiteY6" fmla="*/ 2597787 h 3349852"/>
              <a:gd name="connsiteX7" fmla="*/ 79190 w 2570892"/>
              <a:gd name="connsiteY7" fmla="*/ 2593752 h 3349852"/>
              <a:gd name="connsiteX8" fmla="*/ 1670498 w 2570892"/>
              <a:gd name="connsiteY8" fmla="*/ 347186 h 3349852"/>
              <a:gd name="connsiteX9" fmla="*/ 1678968 w 2570892"/>
              <a:gd name="connsiteY9" fmla="*/ 347486 h 3349852"/>
              <a:gd name="connsiteX10" fmla="*/ 1701757 w 2570892"/>
              <a:gd name="connsiteY10" fmla="*/ 394792 h 3349852"/>
              <a:gd name="connsiteX11" fmla="*/ 1717891 w 2570892"/>
              <a:gd name="connsiteY11" fmla="*/ 438874 h 3349852"/>
              <a:gd name="connsiteX12" fmla="*/ 1670498 w 2570892"/>
              <a:gd name="connsiteY12" fmla="*/ 347186 h 3349852"/>
              <a:gd name="connsiteX13" fmla="*/ 2396278 w 2570892"/>
              <a:gd name="connsiteY13" fmla="*/ 129557 h 3349852"/>
              <a:gd name="connsiteX14" fmla="*/ 2465889 w 2570892"/>
              <a:gd name="connsiteY14" fmla="*/ 319750 h 3349852"/>
              <a:gd name="connsiteX15" fmla="*/ 2570892 w 2570892"/>
              <a:gd name="connsiteY15" fmla="*/ 1014278 h 3349852"/>
              <a:gd name="connsiteX16" fmla="*/ 235318 w 2570892"/>
              <a:gd name="connsiteY16" fmla="*/ 3349852 h 3349852"/>
              <a:gd name="connsiteX17" fmla="*/ 212034 w 2570892"/>
              <a:gd name="connsiteY17" fmla="*/ 3348676 h 3349852"/>
              <a:gd name="connsiteX18" fmla="*/ 0 w 2570892"/>
              <a:gd name="connsiteY18" fmla="*/ 2971802 h 3349852"/>
              <a:gd name="connsiteX19" fmla="*/ 206737 w 2570892"/>
              <a:gd name="connsiteY19" fmla="*/ 2604342 h 3349852"/>
              <a:gd name="connsiteX20" fmla="*/ 235318 w 2570892"/>
              <a:gd name="connsiteY20" fmla="*/ 2605785 h 3349852"/>
              <a:gd name="connsiteX21" fmla="*/ 1826825 w 2570892"/>
              <a:gd name="connsiteY21" fmla="*/ 1014278 h 3349852"/>
              <a:gd name="connsiteX22" fmla="*/ 1755274 w 2570892"/>
              <a:gd name="connsiteY22" fmla="*/ 541013 h 3349852"/>
              <a:gd name="connsiteX23" fmla="*/ 1717891 w 2570892"/>
              <a:gd name="connsiteY23" fmla="*/ 438874 h 3349852"/>
              <a:gd name="connsiteX24" fmla="*/ 1731801 w 2570892"/>
              <a:gd name="connsiteY24" fmla="*/ 465784 h 3349852"/>
              <a:gd name="connsiteX25" fmla="*/ 2165304 w 2570892"/>
              <a:gd name="connsiteY25" fmla="*/ 481137 h 3349852"/>
              <a:gd name="connsiteX26" fmla="*/ 2396278 w 2570892"/>
              <a:gd name="connsiteY26" fmla="*/ 129557 h 3349852"/>
              <a:gd name="connsiteX27" fmla="*/ 2342174 w 2570892"/>
              <a:gd name="connsiteY27" fmla="*/ 0 h 3349852"/>
              <a:gd name="connsiteX28" fmla="*/ 2403477 w 2570892"/>
              <a:gd name="connsiteY28" fmla="*/ 118598 h 3349852"/>
              <a:gd name="connsiteX29" fmla="*/ 2396278 w 2570892"/>
              <a:gd name="connsiteY29" fmla="*/ 129557 h 3349852"/>
              <a:gd name="connsiteX30" fmla="*/ 2387351 w 2570892"/>
              <a:gd name="connsiteY30" fmla="*/ 105167 h 3349852"/>
              <a:gd name="connsiteX31" fmla="*/ 2339010 w 2570892"/>
              <a:gd name="connsiteY31" fmla="*/ 4817 h 3349852"/>
              <a:gd name="connsiteX32" fmla="*/ 2342174 w 2570892"/>
              <a:gd name="connsiteY32" fmla="*/ 0 h 3349852"/>
              <a:gd name="connsiteX0" fmla="*/ 212695 w 2570892"/>
              <a:gd name="connsiteY0" fmla="*/ 3345035 h 3345035"/>
              <a:gd name="connsiteX1" fmla="*/ 212034 w 2570892"/>
              <a:gd name="connsiteY1" fmla="*/ 3343859 h 3345035"/>
              <a:gd name="connsiteX2" fmla="*/ 212695 w 2570892"/>
              <a:gd name="connsiteY2" fmla="*/ 3345035 h 3345035"/>
              <a:gd name="connsiteX3" fmla="*/ 79190 w 2570892"/>
              <a:gd name="connsiteY3" fmla="*/ 2588935 h 3345035"/>
              <a:gd name="connsiteX4" fmla="*/ 212695 w 2570892"/>
              <a:gd name="connsiteY4" fmla="*/ 2588935 h 3345035"/>
              <a:gd name="connsiteX5" fmla="*/ 206737 w 2570892"/>
              <a:gd name="connsiteY5" fmla="*/ 2599525 h 3345035"/>
              <a:gd name="connsiteX6" fmla="*/ 76920 w 2570892"/>
              <a:gd name="connsiteY6" fmla="*/ 2592970 h 3345035"/>
              <a:gd name="connsiteX7" fmla="*/ 79190 w 2570892"/>
              <a:gd name="connsiteY7" fmla="*/ 2588935 h 3345035"/>
              <a:gd name="connsiteX8" fmla="*/ 1670498 w 2570892"/>
              <a:gd name="connsiteY8" fmla="*/ 342369 h 3345035"/>
              <a:gd name="connsiteX9" fmla="*/ 1678968 w 2570892"/>
              <a:gd name="connsiteY9" fmla="*/ 342669 h 3345035"/>
              <a:gd name="connsiteX10" fmla="*/ 1701757 w 2570892"/>
              <a:gd name="connsiteY10" fmla="*/ 389975 h 3345035"/>
              <a:gd name="connsiteX11" fmla="*/ 1717891 w 2570892"/>
              <a:gd name="connsiteY11" fmla="*/ 434057 h 3345035"/>
              <a:gd name="connsiteX12" fmla="*/ 1670498 w 2570892"/>
              <a:gd name="connsiteY12" fmla="*/ 342369 h 3345035"/>
              <a:gd name="connsiteX13" fmla="*/ 2396278 w 2570892"/>
              <a:gd name="connsiteY13" fmla="*/ 124740 h 3345035"/>
              <a:gd name="connsiteX14" fmla="*/ 2465889 w 2570892"/>
              <a:gd name="connsiteY14" fmla="*/ 314933 h 3345035"/>
              <a:gd name="connsiteX15" fmla="*/ 2570892 w 2570892"/>
              <a:gd name="connsiteY15" fmla="*/ 1009461 h 3345035"/>
              <a:gd name="connsiteX16" fmla="*/ 235318 w 2570892"/>
              <a:gd name="connsiteY16" fmla="*/ 3345035 h 3345035"/>
              <a:gd name="connsiteX17" fmla="*/ 212034 w 2570892"/>
              <a:gd name="connsiteY17" fmla="*/ 3343859 h 3345035"/>
              <a:gd name="connsiteX18" fmla="*/ 0 w 2570892"/>
              <a:gd name="connsiteY18" fmla="*/ 2966985 h 3345035"/>
              <a:gd name="connsiteX19" fmla="*/ 206737 w 2570892"/>
              <a:gd name="connsiteY19" fmla="*/ 2599525 h 3345035"/>
              <a:gd name="connsiteX20" fmla="*/ 235318 w 2570892"/>
              <a:gd name="connsiteY20" fmla="*/ 2600968 h 3345035"/>
              <a:gd name="connsiteX21" fmla="*/ 1826825 w 2570892"/>
              <a:gd name="connsiteY21" fmla="*/ 1009461 h 3345035"/>
              <a:gd name="connsiteX22" fmla="*/ 1755274 w 2570892"/>
              <a:gd name="connsiteY22" fmla="*/ 536196 h 3345035"/>
              <a:gd name="connsiteX23" fmla="*/ 1717891 w 2570892"/>
              <a:gd name="connsiteY23" fmla="*/ 434057 h 3345035"/>
              <a:gd name="connsiteX24" fmla="*/ 1731801 w 2570892"/>
              <a:gd name="connsiteY24" fmla="*/ 460967 h 3345035"/>
              <a:gd name="connsiteX25" fmla="*/ 2165304 w 2570892"/>
              <a:gd name="connsiteY25" fmla="*/ 476320 h 3345035"/>
              <a:gd name="connsiteX26" fmla="*/ 2396278 w 2570892"/>
              <a:gd name="connsiteY26" fmla="*/ 124740 h 3345035"/>
              <a:gd name="connsiteX27" fmla="*/ 2339010 w 2570892"/>
              <a:gd name="connsiteY27" fmla="*/ 0 h 3345035"/>
              <a:gd name="connsiteX28" fmla="*/ 2403477 w 2570892"/>
              <a:gd name="connsiteY28" fmla="*/ 113781 h 3345035"/>
              <a:gd name="connsiteX29" fmla="*/ 2396278 w 2570892"/>
              <a:gd name="connsiteY29" fmla="*/ 124740 h 3345035"/>
              <a:gd name="connsiteX30" fmla="*/ 2387351 w 2570892"/>
              <a:gd name="connsiteY30" fmla="*/ 100350 h 3345035"/>
              <a:gd name="connsiteX31" fmla="*/ 2339010 w 2570892"/>
              <a:gd name="connsiteY31" fmla="*/ 0 h 3345035"/>
              <a:gd name="connsiteX0" fmla="*/ 212695 w 2570892"/>
              <a:gd name="connsiteY0" fmla="*/ 3244685 h 3244685"/>
              <a:gd name="connsiteX1" fmla="*/ 212034 w 2570892"/>
              <a:gd name="connsiteY1" fmla="*/ 3243509 h 3244685"/>
              <a:gd name="connsiteX2" fmla="*/ 212695 w 2570892"/>
              <a:gd name="connsiteY2" fmla="*/ 3244685 h 3244685"/>
              <a:gd name="connsiteX3" fmla="*/ 79190 w 2570892"/>
              <a:gd name="connsiteY3" fmla="*/ 2488585 h 3244685"/>
              <a:gd name="connsiteX4" fmla="*/ 212695 w 2570892"/>
              <a:gd name="connsiteY4" fmla="*/ 2488585 h 3244685"/>
              <a:gd name="connsiteX5" fmla="*/ 206737 w 2570892"/>
              <a:gd name="connsiteY5" fmla="*/ 2499175 h 3244685"/>
              <a:gd name="connsiteX6" fmla="*/ 76920 w 2570892"/>
              <a:gd name="connsiteY6" fmla="*/ 2492620 h 3244685"/>
              <a:gd name="connsiteX7" fmla="*/ 79190 w 2570892"/>
              <a:gd name="connsiteY7" fmla="*/ 2488585 h 3244685"/>
              <a:gd name="connsiteX8" fmla="*/ 1670498 w 2570892"/>
              <a:gd name="connsiteY8" fmla="*/ 242019 h 3244685"/>
              <a:gd name="connsiteX9" fmla="*/ 1678968 w 2570892"/>
              <a:gd name="connsiteY9" fmla="*/ 242319 h 3244685"/>
              <a:gd name="connsiteX10" fmla="*/ 1701757 w 2570892"/>
              <a:gd name="connsiteY10" fmla="*/ 289625 h 3244685"/>
              <a:gd name="connsiteX11" fmla="*/ 1717891 w 2570892"/>
              <a:gd name="connsiteY11" fmla="*/ 333707 h 3244685"/>
              <a:gd name="connsiteX12" fmla="*/ 1670498 w 2570892"/>
              <a:gd name="connsiteY12" fmla="*/ 242019 h 3244685"/>
              <a:gd name="connsiteX13" fmla="*/ 2396278 w 2570892"/>
              <a:gd name="connsiteY13" fmla="*/ 24390 h 3244685"/>
              <a:gd name="connsiteX14" fmla="*/ 2465889 w 2570892"/>
              <a:gd name="connsiteY14" fmla="*/ 214583 h 3244685"/>
              <a:gd name="connsiteX15" fmla="*/ 2570892 w 2570892"/>
              <a:gd name="connsiteY15" fmla="*/ 909111 h 3244685"/>
              <a:gd name="connsiteX16" fmla="*/ 235318 w 2570892"/>
              <a:gd name="connsiteY16" fmla="*/ 3244685 h 3244685"/>
              <a:gd name="connsiteX17" fmla="*/ 212034 w 2570892"/>
              <a:gd name="connsiteY17" fmla="*/ 3243509 h 3244685"/>
              <a:gd name="connsiteX18" fmla="*/ 0 w 2570892"/>
              <a:gd name="connsiteY18" fmla="*/ 2866635 h 3244685"/>
              <a:gd name="connsiteX19" fmla="*/ 206737 w 2570892"/>
              <a:gd name="connsiteY19" fmla="*/ 2499175 h 3244685"/>
              <a:gd name="connsiteX20" fmla="*/ 235318 w 2570892"/>
              <a:gd name="connsiteY20" fmla="*/ 2500618 h 3244685"/>
              <a:gd name="connsiteX21" fmla="*/ 1826825 w 2570892"/>
              <a:gd name="connsiteY21" fmla="*/ 909111 h 3244685"/>
              <a:gd name="connsiteX22" fmla="*/ 1755274 w 2570892"/>
              <a:gd name="connsiteY22" fmla="*/ 435846 h 3244685"/>
              <a:gd name="connsiteX23" fmla="*/ 1717891 w 2570892"/>
              <a:gd name="connsiteY23" fmla="*/ 333707 h 3244685"/>
              <a:gd name="connsiteX24" fmla="*/ 1731801 w 2570892"/>
              <a:gd name="connsiteY24" fmla="*/ 360617 h 3244685"/>
              <a:gd name="connsiteX25" fmla="*/ 2165304 w 2570892"/>
              <a:gd name="connsiteY25" fmla="*/ 375970 h 3244685"/>
              <a:gd name="connsiteX26" fmla="*/ 2396278 w 2570892"/>
              <a:gd name="connsiteY26" fmla="*/ 24390 h 3244685"/>
              <a:gd name="connsiteX27" fmla="*/ 2387351 w 2570892"/>
              <a:gd name="connsiteY27" fmla="*/ 0 h 3244685"/>
              <a:gd name="connsiteX28" fmla="*/ 2403477 w 2570892"/>
              <a:gd name="connsiteY28" fmla="*/ 13431 h 3244685"/>
              <a:gd name="connsiteX29" fmla="*/ 2396278 w 2570892"/>
              <a:gd name="connsiteY29" fmla="*/ 24390 h 3244685"/>
              <a:gd name="connsiteX30" fmla="*/ 2387351 w 2570892"/>
              <a:gd name="connsiteY30" fmla="*/ 0 h 3244685"/>
              <a:gd name="connsiteX0" fmla="*/ 212695 w 2570892"/>
              <a:gd name="connsiteY0" fmla="*/ 3231254 h 3231254"/>
              <a:gd name="connsiteX1" fmla="*/ 212034 w 2570892"/>
              <a:gd name="connsiteY1" fmla="*/ 3230078 h 3231254"/>
              <a:gd name="connsiteX2" fmla="*/ 212695 w 2570892"/>
              <a:gd name="connsiteY2" fmla="*/ 3231254 h 3231254"/>
              <a:gd name="connsiteX3" fmla="*/ 79190 w 2570892"/>
              <a:gd name="connsiteY3" fmla="*/ 2475154 h 3231254"/>
              <a:gd name="connsiteX4" fmla="*/ 212695 w 2570892"/>
              <a:gd name="connsiteY4" fmla="*/ 2475154 h 3231254"/>
              <a:gd name="connsiteX5" fmla="*/ 206737 w 2570892"/>
              <a:gd name="connsiteY5" fmla="*/ 2485744 h 3231254"/>
              <a:gd name="connsiteX6" fmla="*/ 76920 w 2570892"/>
              <a:gd name="connsiteY6" fmla="*/ 2479189 h 3231254"/>
              <a:gd name="connsiteX7" fmla="*/ 79190 w 2570892"/>
              <a:gd name="connsiteY7" fmla="*/ 2475154 h 3231254"/>
              <a:gd name="connsiteX8" fmla="*/ 1670498 w 2570892"/>
              <a:gd name="connsiteY8" fmla="*/ 228588 h 3231254"/>
              <a:gd name="connsiteX9" fmla="*/ 1678968 w 2570892"/>
              <a:gd name="connsiteY9" fmla="*/ 228888 h 3231254"/>
              <a:gd name="connsiteX10" fmla="*/ 1701757 w 2570892"/>
              <a:gd name="connsiteY10" fmla="*/ 276194 h 3231254"/>
              <a:gd name="connsiteX11" fmla="*/ 1717891 w 2570892"/>
              <a:gd name="connsiteY11" fmla="*/ 320276 h 3231254"/>
              <a:gd name="connsiteX12" fmla="*/ 1670498 w 2570892"/>
              <a:gd name="connsiteY12" fmla="*/ 228588 h 3231254"/>
              <a:gd name="connsiteX13" fmla="*/ 2396278 w 2570892"/>
              <a:gd name="connsiteY13" fmla="*/ 10959 h 3231254"/>
              <a:gd name="connsiteX14" fmla="*/ 2465889 w 2570892"/>
              <a:gd name="connsiteY14" fmla="*/ 201152 h 3231254"/>
              <a:gd name="connsiteX15" fmla="*/ 2570892 w 2570892"/>
              <a:gd name="connsiteY15" fmla="*/ 895680 h 3231254"/>
              <a:gd name="connsiteX16" fmla="*/ 235318 w 2570892"/>
              <a:gd name="connsiteY16" fmla="*/ 3231254 h 3231254"/>
              <a:gd name="connsiteX17" fmla="*/ 212034 w 2570892"/>
              <a:gd name="connsiteY17" fmla="*/ 3230078 h 3231254"/>
              <a:gd name="connsiteX18" fmla="*/ 0 w 2570892"/>
              <a:gd name="connsiteY18" fmla="*/ 2853204 h 3231254"/>
              <a:gd name="connsiteX19" fmla="*/ 206737 w 2570892"/>
              <a:gd name="connsiteY19" fmla="*/ 2485744 h 3231254"/>
              <a:gd name="connsiteX20" fmla="*/ 235318 w 2570892"/>
              <a:gd name="connsiteY20" fmla="*/ 2487187 h 3231254"/>
              <a:gd name="connsiteX21" fmla="*/ 1826825 w 2570892"/>
              <a:gd name="connsiteY21" fmla="*/ 895680 h 3231254"/>
              <a:gd name="connsiteX22" fmla="*/ 1755274 w 2570892"/>
              <a:gd name="connsiteY22" fmla="*/ 422415 h 3231254"/>
              <a:gd name="connsiteX23" fmla="*/ 1717891 w 2570892"/>
              <a:gd name="connsiteY23" fmla="*/ 320276 h 3231254"/>
              <a:gd name="connsiteX24" fmla="*/ 1731801 w 2570892"/>
              <a:gd name="connsiteY24" fmla="*/ 347186 h 3231254"/>
              <a:gd name="connsiteX25" fmla="*/ 2165304 w 2570892"/>
              <a:gd name="connsiteY25" fmla="*/ 362539 h 3231254"/>
              <a:gd name="connsiteX26" fmla="*/ 2396278 w 2570892"/>
              <a:gd name="connsiteY26" fmla="*/ 10959 h 3231254"/>
              <a:gd name="connsiteX27" fmla="*/ 2396278 w 2570892"/>
              <a:gd name="connsiteY27" fmla="*/ 10959 h 3231254"/>
              <a:gd name="connsiteX28" fmla="*/ 2403477 w 2570892"/>
              <a:gd name="connsiteY28" fmla="*/ 0 h 3231254"/>
              <a:gd name="connsiteX29" fmla="*/ 2396278 w 2570892"/>
              <a:gd name="connsiteY29" fmla="*/ 10959 h 3231254"/>
              <a:gd name="connsiteX0" fmla="*/ 212695 w 2570892"/>
              <a:gd name="connsiteY0" fmla="*/ 3231254 h 3231254"/>
              <a:gd name="connsiteX1" fmla="*/ 212034 w 2570892"/>
              <a:gd name="connsiteY1" fmla="*/ 3230078 h 3231254"/>
              <a:gd name="connsiteX2" fmla="*/ 212695 w 2570892"/>
              <a:gd name="connsiteY2" fmla="*/ 3231254 h 3231254"/>
              <a:gd name="connsiteX3" fmla="*/ 79190 w 2570892"/>
              <a:gd name="connsiteY3" fmla="*/ 2475154 h 3231254"/>
              <a:gd name="connsiteX4" fmla="*/ 212695 w 2570892"/>
              <a:gd name="connsiteY4" fmla="*/ 2475154 h 3231254"/>
              <a:gd name="connsiteX5" fmla="*/ 206737 w 2570892"/>
              <a:gd name="connsiteY5" fmla="*/ 2485744 h 3231254"/>
              <a:gd name="connsiteX6" fmla="*/ 76920 w 2570892"/>
              <a:gd name="connsiteY6" fmla="*/ 2479189 h 3231254"/>
              <a:gd name="connsiteX7" fmla="*/ 79190 w 2570892"/>
              <a:gd name="connsiteY7" fmla="*/ 2475154 h 3231254"/>
              <a:gd name="connsiteX8" fmla="*/ 1717891 w 2570892"/>
              <a:gd name="connsiteY8" fmla="*/ 320276 h 3231254"/>
              <a:gd name="connsiteX9" fmla="*/ 1678968 w 2570892"/>
              <a:gd name="connsiteY9" fmla="*/ 228888 h 3231254"/>
              <a:gd name="connsiteX10" fmla="*/ 1701757 w 2570892"/>
              <a:gd name="connsiteY10" fmla="*/ 276194 h 3231254"/>
              <a:gd name="connsiteX11" fmla="*/ 1717891 w 2570892"/>
              <a:gd name="connsiteY11" fmla="*/ 320276 h 3231254"/>
              <a:gd name="connsiteX12" fmla="*/ 2396278 w 2570892"/>
              <a:gd name="connsiteY12" fmla="*/ 10959 h 3231254"/>
              <a:gd name="connsiteX13" fmla="*/ 2465889 w 2570892"/>
              <a:gd name="connsiteY13" fmla="*/ 201152 h 3231254"/>
              <a:gd name="connsiteX14" fmla="*/ 2570892 w 2570892"/>
              <a:gd name="connsiteY14" fmla="*/ 895680 h 3231254"/>
              <a:gd name="connsiteX15" fmla="*/ 235318 w 2570892"/>
              <a:gd name="connsiteY15" fmla="*/ 3231254 h 3231254"/>
              <a:gd name="connsiteX16" fmla="*/ 212034 w 2570892"/>
              <a:gd name="connsiteY16" fmla="*/ 3230078 h 3231254"/>
              <a:gd name="connsiteX17" fmla="*/ 0 w 2570892"/>
              <a:gd name="connsiteY17" fmla="*/ 2853204 h 3231254"/>
              <a:gd name="connsiteX18" fmla="*/ 206737 w 2570892"/>
              <a:gd name="connsiteY18" fmla="*/ 2485744 h 3231254"/>
              <a:gd name="connsiteX19" fmla="*/ 235318 w 2570892"/>
              <a:gd name="connsiteY19" fmla="*/ 2487187 h 3231254"/>
              <a:gd name="connsiteX20" fmla="*/ 1826825 w 2570892"/>
              <a:gd name="connsiteY20" fmla="*/ 895680 h 3231254"/>
              <a:gd name="connsiteX21" fmla="*/ 1755274 w 2570892"/>
              <a:gd name="connsiteY21" fmla="*/ 422415 h 3231254"/>
              <a:gd name="connsiteX22" fmla="*/ 1717891 w 2570892"/>
              <a:gd name="connsiteY22" fmla="*/ 320276 h 3231254"/>
              <a:gd name="connsiteX23" fmla="*/ 1731801 w 2570892"/>
              <a:gd name="connsiteY23" fmla="*/ 347186 h 3231254"/>
              <a:gd name="connsiteX24" fmla="*/ 2165304 w 2570892"/>
              <a:gd name="connsiteY24" fmla="*/ 362539 h 3231254"/>
              <a:gd name="connsiteX25" fmla="*/ 2396278 w 2570892"/>
              <a:gd name="connsiteY25" fmla="*/ 10959 h 3231254"/>
              <a:gd name="connsiteX26" fmla="*/ 2396278 w 2570892"/>
              <a:gd name="connsiteY26" fmla="*/ 10959 h 3231254"/>
              <a:gd name="connsiteX27" fmla="*/ 2403477 w 2570892"/>
              <a:gd name="connsiteY27" fmla="*/ 0 h 3231254"/>
              <a:gd name="connsiteX28" fmla="*/ 2396278 w 2570892"/>
              <a:gd name="connsiteY28" fmla="*/ 10959 h 3231254"/>
              <a:gd name="connsiteX0" fmla="*/ 212695 w 2570892"/>
              <a:gd name="connsiteY0" fmla="*/ 3231254 h 3231254"/>
              <a:gd name="connsiteX1" fmla="*/ 212034 w 2570892"/>
              <a:gd name="connsiteY1" fmla="*/ 3230078 h 3231254"/>
              <a:gd name="connsiteX2" fmla="*/ 212695 w 2570892"/>
              <a:gd name="connsiteY2" fmla="*/ 3231254 h 3231254"/>
              <a:gd name="connsiteX3" fmla="*/ 79190 w 2570892"/>
              <a:gd name="connsiteY3" fmla="*/ 2475154 h 3231254"/>
              <a:gd name="connsiteX4" fmla="*/ 212695 w 2570892"/>
              <a:gd name="connsiteY4" fmla="*/ 2475154 h 3231254"/>
              <a:gd name="connsiteX5" fmla="*/ 206737 w 2570892"/>
              <a:gd name="connsiteY5" fmla="*/ 2485744 h 3231254"/>
              <a:gd name="connsiteX6" fmla="*/ 76920 w 2570892"/>
              <a:gd name="connsiteY6" fmla="*/ 2479189 h 3231254"/>
              <a:gd name="connsiteX7" fmla="*/ 79190 w 2570892"/>
              <a:gd name="connsiteY7" fmla="*/ 2475154 h 3231254"/>
              <a:gd name="connsiteX8" fmla="*/ 1717891 w 2570892"/>
              <a:gd name="connsiteY8" fmla="*/ 320276 h 3231254"/>
              <a:gd name="connsiteX9" fmla="*/ 1701757 w 2570892"/>
              <a:gd name="connsiteY9" fmla="*/ 276194 h 3231254"/>
              <a:gd name="connsiteX10" fmla="*/ 1717891 w 2570892"/>
              <a:gd name="connsiteY10" fmla="*/ 320276 h 3231254"/>
              <a:gd name="connsiteX11" fmla="*/ 2396278 w 2570892"/>
              <a:gd name="connsiteY11" fmla="*/ 10959 h 3231254"/>
              <a:gd name="connsiteX12" fmla="*/ 2465889 w 2570892"/>
              <a:gd name="connsiteY12" fmla="*/ 201152 h 3231254"/>
              <a:gd name="connsiteX13" fmla="*/ 2570892 w 2570892"/>
              <a:gd name="connsiteY13" fmla="*/ 895680 h 3231254"/>
              <a:gd name="connsiteX14" fmla="*/ 235318 w 2570892"/>
              <a:gd name="connsiteY14" fmla="*/ 3231254 h 3231254"/>
              <a:gd name="connsiteX15" fmla="*/ 212034 w 2570892"/>
              <a:gd name="connsiteY15" fmla="*/ 3230078 h 3231254"/>
              <a:gd name="connsiteX16" fmla="*/ 0 w 2570892"/>
              <a:gd name="connsiteY16" fmla="*/ 2853204 h 3231254"/>
              <a:gd name="connsiteX17" fmla="*/ 206737 w 2570892"/>
              <a:gd name="connsiteY17" fmla="*/ 2485744 h 3231254"/>
              <a:gd name="connsiteX18" fmla="*/ 235318 w 2570892"/>
              <a:gd name="connsiteY18" fmla="*/ 2487187 h 3231254"/>
              <a:gd name="connsiteX19" fmla="*/ 1826825 w 2570892"/>
              <a:gd name="connsiteY19" fmla="*/ 895680 h 3231254"/>
              <a:gd name="connsiteX20" fmla="*/ 1755274 w 2570892"/>
              <a:gd name="connsiteY20" fmla="*/ 422415 h 3231254"/>
              <a:gd name="connsiteX21" fmla="*/ 1717891 w 2570892"/>
              <a:gd name="connsiteY21" fmla="*/ 320276 h 3231254"/>
              <a:gd name="connsiteX22" fmla="*/ 1731801 w 2570892"/>
              <a:gd name="connsiteY22" fmla="*/ 347186 h 3231254"/>
              <a:gd name="connsiteX23" fmla="*/ 2165304 w 2570892"/>
              <a:gd name="connsiteY23" fmla="*/ 362539 h 3231254"/>
              <a:gd name="connsiteX24" fmla="*/ 2396278 w 2570892"/>
              <a:gd name="connsiteY24" fmla="*/ 10959 h 3231254"/>
              <a:gd name="connsiteX25" fmla="*/ 2396278 w 2570892"/>
              <a:gd name="connsiteY25" fmla="*/ 10959 h 3231254"/>
              <a:gd name="connsiteX26" fmla="*/ 2403477 w 2570892"/>
              <a:gd name="connsiteY26" fmla="*/ 0 h 3231254"/>
              <a:gd name="connsiteX27" fmla="*/ 2396278 w 2570892"/>
              <a:gd name="connsiteY27" fmla="*/ 10959 h 3231254"/>
              <a:gd name="connsiteX0" fmla="*/ 212695 w 2570892"/>
              <a:gd name="connsiteY0" fmla="*/ 3231254 h 3231254"/>
              <a:gd name="connsiteX1" fmla="*/ 212034 w 2570892"/>
              <a:gd name="connsiteY1" fmla="*/ 3230078 h 3231254"/>
              <a:gd name="connsiteX2" fmla="*/ 212695 w 2570892"/>
              <a:gd name="connsiteY2" fmla="*/ 3231254 h 3231254"/>
              <a:gd name="connsiteX3" fmla="*/ 79190 w 2570892"/>
              <a:gd name="connsiteY3" fmla="*/ 2475154 h 3231254"/>
              <a:gd name="connsiteX4" fmla="*/ 212695 w 2570892"/>
              <a:gd name="connsiteY4" fmla="*/ 2475154 h 3231254"/>
              <a:gd name="connsiteX5" fmla="*/ 206737 w 2570892"/>
              <a:gd name="connsiteY5" fmla="*/ 2485744 h 3231254"/>
              <a:gd name="connsiteX6" fmla="*/ 76920 w 2570892"/>
              <a:gd name="connsiteY6" fmla="*/ 2479189 h 3231254"/>
              <a:gd name="connsiteX7" fmla="*/ 79190 w 2570892"/>
              <a:gd name="connsiteY7" fmla="*/ 2475154 h 3231254"/>
              <a:gd name="connsiteX8" fmla="*/ 2396278 w 2570892"/>
              <a:gd name="connsiteY8" fmla="*/ 10959 h 3231254"/>
              <a:gd name="connsiteX9" fmla="*/ 2465889 w 2570892"/>
              <a:gd name="connsiteY9" fmla="*/ 201152 h 3231254"/>
              <a:gd name="connsiteX10" fmla="*/ 2570892 w 2570892"/>
              <a:gd name="connsiteY10" fmla="*/ 895680 h 3231254"/>
              <a:gd name="connsiteX11" fmla="*/ 235318 w 2570892"/>
              <a:gd name="connsiteY11" fmla="*/ 3231254 h 3231254"/>
              <a:gd name="connsiteX12" fmla="*/ 212034 w 2570892"/>
              <a:gd name="connsiteY12" fmla="*/ 3230078 h 3231254"/>
              <a:gd name="connsiteX13" fmla="*/ 0 w 2570892"/>
              <a:gd name="connsiteY13" fmla="*/ 2853204 h 3231254"/>
              <a:gd name="connsiteX14" fmla="*/ 206737 w 2570892"/>
              <a:gd name="connsiteY14" fmla="*/ 2485744 h 3231254"/>
              <a:gd name="connsiteX15" fmla="*/ 235318 w 2570892"/>
              <a:gd name="connsiteY15" fmla="*/ 2487187 h 3231254"/>
              <a:gd name="connsiteX16" fmla="*/ 1826825 w 2570892"/>
              <a:gd name="connsiteY16" fmla="*/ 895680 h 3231254"/>
              <a:gd name="connsiteX17" fmla="*/ 1755274 w 2570892"/>
              <a:gd name="connsiteY17" fmla="*/ 422415 h 3231254"/>
              <a:gd name="connsiteX18" fmla="*/ 1717891 w 2570892"/>
              <a:gd name="connsiteY18" fmla="*/ 320276 h 3231254"/>
              <a:gd name="connsiteX19" fmla="*/ 1731801 w 2570892"/>
              <a:gd name="connsiteY19" fmla="*/ 347186 h 3231254"/>
              <a:gd name="connsiteX20" fmla="*/ 2165304 w 2570892"/>
              <a:gd name="connsiteY20" fmla="*/ 362539 h 3231254"/>
              <a:gd name="connsiteX21" fmla="*/ 2396278 w 2570892"/>
              <a:gd name="connsiteY21" fmla="*/ 10959 h 3231254"/>
              <a:gd name="connsiteX22" fmla="*/ 2396278 w 2570892"/>
              <a:gd name="connsiteY22" fmla="*/ 10959 h 3231254"/>
              <a:gd name="connsiteX23" fmla="*/ 2403477 w 2570892"/>
              <a:gd name="connsiteY23" fmla="*/ 0 h 3231254"/>
              <a:gd name="connsiteX24" fmla="*/ 2396278 w 2570892"/>
              <a:gd name="connsiteY24" fmla="*/ 10959 h 3231254"/>
              <a:gd name="connsiteX0" fmla="*/ 212695 w 2570892"/>
              <a:gd name="connsiteY0" fmla="*/ 3231254 h 3231254"/>
              <a:gd name="connsiteX1" fmla="*/ 212034 w 2570892"/>
              <a:gd name="connsiteY1" fmla="*/ 3230078 h 3231254"/>
              <a:gd name="connsiteX2" fmla="*/ 212695 w 2570892"/>
              <a:gd name="connsiteY2" fmla="*/ 3231254 h 3231254"/>
              <a:gd name="connsiteX3" fmla="*/ 79190 w 2570892"/>
              <a:gd name="connsiteY3" fmla="*/ 2475154 h 3231254"/>
              <a:gd name="connsiteX4" fmla="*/ 212695 w 2570892"/>
              <a:gd name="connsiteY4" fmla="*/ 2475154 h 3231254"/>
              <a:gd name="connsiteX5" fmla="*/ 206737 w 2570892"/>
              <a:gd name="connsiteY5" fmla="*/ 2485744 h 3231254"/>
              <a:gd name="connsiteX6" fmla="*/ 76920 w 2570892"/>
              <a:gd name="connsiteY6" fmla="*/ 2479189 h 3231254"/>
              <a:gd name="connsiteX7" fmla="*/ 79190 w 2570892"/>
              <a:gd name="connsiteY7" fmla="*/ 2475154 h 3231254"/>
              <a:gd name="connsiteX8" fmla="*/ 2396278 w 2570892"/>
              <a:gd name="connsiteY8" fmla="*/ 10959 h 3231254"/>
              <a:gd name="connsiteX9" fmla="*/ 2465889 w 2570892"/>
              <a:gd name="connsiteY9" fmla="*/ 201152 h 3231254"/>
              <a:gd name="connsiteX10" fmla="*/ 2570892 w 2570892"/>
              <a:gd name="connsiteY10" fmla="*/ 895680 h 3231254"/>
              <a:gd name="connsiteX11" fmla="*/ 235318 w 2570892"/>
              <a:gd name="connsiteY11" fmla="*/ 3231254 h 3231254"/>
              <a:gd name="connsiteX12" fmla="*/ 212034 w 2570892"/>
              <a:gd name="connsiteY12" fmla="*/ 3230078 h 3231254"/>
              <a:gd name="connsiteX13" fmla="*/ 0 w 2570892"/>
              <a:gd name="connsiteY13" fmla="*/ 2853204 h 3231254"/>
              <a:gd name="connsiteX14" fmla="*/ 206737 w 2570892"/>
              <a:gd name="connsiteY14" fmla="*/ 2485744 h 3231254"/>
              <a:gd name="connsiteX15" fmla="*/ 235318 w 2570892"/>
              <a:gd name="connsiteY15" fmla="*/ 2487187 h 3231254"/>
              <a:gd name="connsiteX16" fmla="*/ 1826825 w 2570892"/>
              <a:gd name="connsiteY16" fmla="*/ 895680 h 3231254"/>
              <a:gd name="connsiteX17" fmla="*/ 1755274 w 2570892"/>
              <a:gd name="connsiteY17" fmla="*/ 422415 h 3231254"/>
              <a:gd name="connsiteX18" fmla="*/ 1731801 w 2570892"/>
              <a:gd name="connsiteY18" fmla="*/ 347186 h 3231254"/>
              <a:gd name="connsiteX19" fmla="*/ 2165304 w 2570892"/>
              <a:gd name="connsiteY19" fmla="*/ 362539 h 3231254"/>
              <a:gd name="connsiteX20" fmla="*/ 2396278 w 2570892"/>
              <a:gd name="connsiteY20" fmla="*/ 10959 h 3231254"/>
              <a:gd name="connsiteX21" fmla="*/ 2396278 w 2570892"/>
              <a:gd name="connsiteY21" fmla="*/ 10959 h 3231254"/>
              <a:gd name="connsiteX22" fmla="*/ 2403477 w 2570892"/>
              <a:gd name="connsiteY22" fmla="*/ 0 h 3231254"/>
              <a:gd name="connsiteX23" fmla="*/ 2396278 w 2570892"/>
              <a:gd name="connsiteY23" fmla="*/ 10959 h 323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70892" h="3231254">
                <a:moveTo>
                  <a:pt x="212695" y="3231254"/>
                </a:moveTo>
                <a:lnTo>
                  <a:pt x="212034" y="3230078"/>
                </a:lnTo>
                <a:lnTo>
                  <a:pt x="212695" y="3231254"/>
                </a:lnTo>
                <a:close/>
                <a:moveTo>
                  <a:pt x="79190" y="2475154"/>
                </a:moveTo>
                <a:lnTo>
                  <a:pt x="212695" y="2475154"/>
                </a:lnTo>
                <a:lnTo>
                  <a:pt x="206737" y="2485744"/>
                </a:lnTo>
                <a:lnTo>
                  <a:pt x="76920" y="2479189"/>
                </a:lnTo>
                <a:lnTo>
                  <a:pt x="79190" y="2475154"/>
                </a:lnTo>
                <a:close/>
                <a:moveTo>
                  <a:pt x="2396278" y="10959"/>
                </a:moveTo>
                <a:lnTo>
                  <a:pt x="2465889" y="201152"/>
                </a:lnTo>
                <a:cubicBezTo>
                  <a:pt x="2534130" y="420553"/>
                  <a:pt x="2570892" y="653824"/>
                  <a:pt x="2570892" y="895680"/>
                </a:cubicBezTo>
                <a:cubicBezTo>
                  <a:pt x="2570892" y="2185582"/>
                  <a:pt x="1525220" y="3231254"/>
                  <a:pt x="235318" y="3231254"/>
                </a:cubicBezTo>
                <a:lnTo>
                  <a:pt x="212034" y="3230078"/>
                </a:lnTo>
                <a:lnTo>
                  <a:pt x="0" y="2853204"/>
                </a:lnTo>
                <a:lnTo>
                  <a:pt x="206737" y="2485744"/>
                </a:lnTo>
                <a:lnTo>
                  <a:pt x="235318" y="2487187"/>
                </a:lnTo>
                <a:cubicBezTo>
                  <a:pt x="1114283" y="2487187"/>
                  <a:pt x="1826825" y="1774645"/>
                  <a:pt x="1826825" y="895680"/>
                </a:cubicBezTo>
                <a:cubicBezTo>
                  <a:pt x="1826825" y="730874"/>
                  <a:pt x="1801775" y="571919"/>
                  <a:pt x="1755274" y="422415"/>
                </a:cubicBezTo>
                <a:lnTo>
                  <a:pt x="1731801" y="347186"/>
                </a:lnTo>
                <a:lnTo>
                  <a:pt x="2165304" y="362539"/>
                </a:lnTo>
                <a:lnTo>
                  <a:pt x="2396278" y="10959"/>
                </a:lnTo>
                <a:close/>
                <a:moveTo>
                  <a:pt x="2396278" y="10959"/>
                </a:moveTo>
                <a:lnTo>
                  <a:pt x="2403477" y="0"/>
                </a:lnTo>
                <a:lnTo>
                  <a:pt x="2396278" y="10959"/>
                </a:lnTo>
                <a:close/>
              </a:path>
            </a:pathLst>
          </a:cu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algn="ctr"/>
            <a:endParaRPr lang="en-US" err="1">
              <a:solidFill>
                <a:schemeClr val="tx1"/>
              </a:solidFill>
            </a:endParaRPr>
          </a:p>
        </p:txBody>
      </p:sp>
      <p:sp>
        <p:nvSpPr>
          <p:cNvPr id="6" name="Freeform: Shape 5">
            <a:extLst>
              <a:ext uri="{FF2B5EF4-FFF2-40B4-BE49-F238E27FC236}">
                <a16:creationId xmlns:a16="http://schemas.microsoft.com/office/drawing/2014/main" id="{E28F4B14-927C-EEF7-C32C-F3715DD415D0}"/>
              </a:ext>
            </a:extLst>
          </p:cNvPr>
          <p:cNvSpPr/>
          <p:nvPr/>
        </p:nvSpPr>
        <p:spPr bwMode="ltGray">
          <a:xfrm>
            <a:off x="1626078" y="2931480"/>
            <a:ext cx="2179446" cy="3288092"/>
          </a:xfrm>
          <a:custGeom>
            <a:avLst/>
            <a:gdLst>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9446 w 4671148"/>
              <a:gd name="connsiteY4" fmla="*/ 3915048 h 4671148"/>
              <a:gd name="connsiteX5" fmla="*/ 2312951 w 4671148"/>
              <a:gd name="connsiteY5" fmla="*/ 3915048 h 4671148"/>
              <a:gd name="connsiteX6" fmla="*/ 2306993 w 4671148"/>
              <a:gd name="connsiteY6" fmla="*/ 3925638 h 4671148"/>
              <a:gd name="connsiteX7" fmla="*/ 2177176 w 4671148"/>
              <a:gd name="connsiteY7" fmla="*/ 3919083 h 4671148"/>
              <a:gd name="connsiteX8" fmla="*/ 3770754 w 4671148"/>
              <a:gd name="connsiteY8" fmla="*/ 1668482 h 4671148"/>
              <a:gd name="connsiteX9" fmla="*/ 3779224 w 4671148"/>
              <a:gd name="connsiteY9" fmla="*/ 1668782 h 4671148"/>
              <a:gd name="connsiteX10" fmla="*/ 3802013 w 4671148"/>
              <a:gd name="connsiteY10" fmla="*/ 1716088 h 4671148"/>
              <a:gd name="connsiteX11" fmla="*/ 3818147 w 4671148"/>
              <a:gd name="connsiteY11" fmla="*/ 1760170 h 4671148"/>
              <a:gd name="connsiteX12" fmla="*/ 911753 w 4671148"/>
              <a:gd name="connsiteY12" fmla="*/ 1627620 h 4671148"/>
              <a:gd name="connsiteX13" fmla="*/ 916978 w 4671148"/>
              <a:gd name="connsiteY13" fmla="*/ 1636134 h 4671148"/>
              <a:gd name="connsiteX14" fmla="*/ 862742 w 4671148"/>
              <a:gd name="connsiteY14" fmla="*/ 1733555 h 4671148"/>
              <a:gd name="connsiteX15" fmla="*/ 869136 w 4671148"/>
              <a:gd name="connsiteY15" fmla="*/ 1716088 h 4671148"/>
              <a:gd name="connsiteX16" fmla="*/ 4496534 w 4671148"/>
              <a:gd name="connsiteY16" fmla="*/ 1450853 h 4671148"/>
              <a:gd name="connsiteX17" fmla="*/ 4566145 w 4671148"/>
              <a:gd name="connsiteY17" fmla="*/ 1641046 h 4671148"/>
              <a:gd name="connsiteX18" fmla="*/ 4671148 w 4671148"/>
              <a:gd name="connsiteY18" fmla="*/ 2335574 h 4671148"/>
              <a:gd name="connsiteX19" fmla="*/ 2335574 w 4671148"/>
              <a:gd name="connsiteY19" fmla="*/ 4671148 h 4671148"/>
              <a:gd name="connsiteX20" fmla="*/ 2312290 w 4671148"/>
              <a:gd name="connsiteY20" fmla="*/ 4669972 h 4671148"/>
              <a:gd name="connsiteX21" fmla="*/ 2100256 w 4671148"/>
              <a:gd name="connsiteY21" fmla="*/ 4293098 h 4671148"/>
              <a:gd name="connsiteX22" fmla="*/ 2306993 w 4671148"/>
              <a:gd name="connsiteY22" fmla="*/ 3925638 h 4671148"/>
              <a:gd name="connsiteX23" fmla="*/ 2335574 w 4671148"/>
              <a:gd name="connsiteY23" fmla="*/ 3927081 h 4671148"/>
              <a:gd name="connsiteX24" fmla="*/ 3927081 w 4671148"/>
              <a:gd name="connsiteY24" fmla="*/ 2335574 h 4671148"/>
              <a:gd name="connsiteX25" fmla="*/ 3855530 w 4671148"/>
              <a:gd name="connsiteY25" fmla="*/ 1862309 h 4671148"/>
              <a:gd name="connsiteX26" fmla="*/ 3818147 w 4671148"/>
              <a:gd name="connsiteY26" fmla="*/ 1760170 h 4671148"/>
              <a:gd name="connsiteX27" fmla="*/ 3832057 w 4671148"/>
              <a:gd name="connsiteY27" fmla="*/ 1787080 h 4671148"/>
              <a:gd name="connsiteX28" fmla="*/ 4265560 w 4671148"/>
              <a:gd name="connsiteY28" fmla="*/ 1802433 h 4671148"/>
              <a:gd name="connsiteX29" fmla="*/ 625183 w 4671148"/>
              <a:gd name="connsiteY29" fmla="*/ 1383056 h 4671148"/>
              <a:gd name="connsiteX30" fmla="*/ 852039 w 4671148"/>
              <a:gd name="connsiteY30" fmla="*/ 1752782 h 4671148"/>
              <a:gd name="connsiteX31" fmla="*/ 862742 w 4671148"/>
              <a:gd name="connsiteY31" fmla="*/ 1733555 h 4671148"/>
              <a:gd name="connsiteX32" fmla="*/ 815618 w 4671148"/>
              <a:gd name="connsiteY32" fmla="*/ 1862309 h 4671148"/>
              <a:gd name="connsiteX33" fmla="*/ 744067 w 4671148"/>
              <a:gd name="connsiteY33" fmla="*/ 2335574 h 4671148"/>
              <a:gd name="connsiteX34" fmla="*/ 2172852 w 4671148"/>
              <a:gd name="connsiteY34" fmla="*/ 3918864 h 4671148"/>
              <a:gd name="connsiteX35" fmla="*/ 2177176 w 4671148"/>
              <a:gd name="connsiteY35" fmla="*/ 3919083 h 4671148"/>
              <a:gd name="connsiteX36" fmla="*/ 1966751 w 4671148"/>
              <a:gd name="connsiteY36" fmla="*/ 4293098 h 4671148"/>
              <a:gd name="connsiteX37" fmla="*/ 2174881 w 4671148"/>
              <a:gd name="connsiteY37" fmla="*/ 4663034 h 4671148"/>
              <a:gd name="connsiteX38" fmla="*/ 2096775 w 4671148"/>
              <a:gd name="connsiteY38" fmla="*/ 4659090 h 4671148"/>
              <a:gd name="connsiteX39" fmla="*/ 0 w 4671148"/>
              <a:gd name="connsiteY39" fmla="*/ 2335574 h 4671148"/>
              <a:gd name="connsiteX40" fmla="*/ 183541 w 4671148"/>
              <a:gd name="connsiteY40" fmla="*/ 1426463 h 4671148"/>
              <a:gd name="connsiteX41" fmla="*/ 203538 w 4671148"/>
              <a:gd name="connsiteY41" fmla="*/ 1384952 h 4671148"/>
              <a:gd name="connsiteX42" fmla="*/ 4442430 w 4671148"/>
              <a:gd name="connsiteY42" fmla="*/ 1321296 h 4671148"/>
              <a:gd name="connsiteX43" fmla="*/ 4503733 w 4671148"/>
              <a:gd name="connsiteY43" fmla="*/ 1439894 h 4671148"/>
              <a:gd name="connsiteX44" fmla="*/ 4496534 w 4671148"/>
              <a:gd name="connsiteY44" fmla="*/ 1450853 h 4671148"/>
              <a:gd name="connsiteX45" fmla="*/ 4487607 w 4671148"/>
              <a:gd name="connsiteY45" fmla="*/ 1426463 h 4671148"/>
              <a:gd name="connsiteX46" fmla="*/ 4439266 w 4671148"/>
              <a:gd name="connsiteY46" fmla="*/ 1326113 h 4671148"/>
              <a:gd name="connsiteX47" fmla="*/ 259711 w 4671148"/>
              <a:gd name="connsiteY47" fmla="*/ 1268344 h 4671148"/>
              <a:gd name="connsiteX48" fmla="*/ 203538 w 4671148"/>
              <a:gd name="connsiteY48" fmla="*/ 1384952 h 4671148"/>
              <a:gd name="connsiteX49" fmla="*/ 191412 w 4671148"/>
              <a:gd name="connsiteY49" fmla="*/ 1385006 h 4671148"/>
              <a:gd name="connsiteX50" fmla="*/ 256350 w 4671148"/>
              <a:gd name="connsiteY50" fmla="*/ 1268359 h 4671148"/>
              <a:gd name="connsiteX51" fmla="*/ 2335574 w 4671148"/>
              <a:gd name="connsiteY51" fmla="*/ 0 h 4671148"/>
              <a:gd name="connsiteX52" fmla="*/ 4389257 w 4671148"/>
              <a:gd name="connsiteY52" fmla="*/ 1222301 h 4671148"/>
              <a:gd name="connsiteX53" fmla="*/ 4439266 w 4671148"/>
              <a:gd name="connsiteY53" fmla="*/ 1326113 h 4671148"/>
              <a:gd name="connsiteX54" fmla="*/ 4204258 w 4671148"/>
              <a:gd name="connsiteY54" fmla="*/ 1683835 h 4671148"/>
              <a:gd name="connsiteX55" fmla="*/ 3779224 w 4671148"/>
              <a:gd name="connsiteY55" fmla="*/ 1668782 h 4671148"/>
              <a:gd name="connsiteX56" fmla="*/ 3734995 w 4671148"/>
              <a:gd name="connsiteY56" fmla="*/ 1576967 h 4671148"/>
              <a:gd name="connsiteX57" fmla="*/ 2335574 w 4671148"/>
              <a:gd name="connsiteY57" fmla="*/ 744067 h 4671148"/>
              <a:gd name="connsiteX58" fmla="*/ 936154 w 4671148"/>
              <a:gd name="connsiteY58" fmla="*/ 1576967 h 4671148"/>
              <a:gd name="connsiteX59" fmla="*/ 911753 w 4671148"/>
              <a:gd name="connsiteY59" fmla="*/ 1627620 h 4671148"/>
              <a:gd name="connsiteX60" fmla="*/ 690121 w 4671148"/>
              <a:gd name="connsiteY60" fmla="*/ 1266408 h 4671148"/>
              <a:gd name="connsiteX61" fmla="*/ 259711 w 4671148"/>
              <a:gd name="connsiteY61" fmla="*/ 1268344 h 4671148"/>
              <a:gd name="connsiteX62" fmla="*/ 281891 w 4671148"/>
              <a:gd name="connsiteY62" fmla="*/ 1222301 h 4671148"/>
              <a:gd name="connsiteX63" fmla="*/ 2335574 w 4671148"/>
              <a:gd name="connsiteY63"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927081 w 4671148"/>
              <a:gd name="connsiteY28" fmla="*/ 2335574 h 4671148"/>
              <a:gd name="connsiteX29" fmla="*/ 3855530 w 4671148"/>
              <a:gd name="connsiteY29" fmla="*/ 1862309 h 4671148"/>
              <a:gd name="connsiteX30" fmla="*/ 3818147 w 4671148"/>
              <a:gd name="connsiteY30" fmla="*/ 1760170 h 4671148"/>
              <a:gd name="connsiteX31" fmla="*/ 3832057 w 4671148"/>
              <a:gd name="connsiteY31" fmla="*/ 1787080 h 4671148"/>
              <a:gd name="connsiteX32" fmla="*/ 4265560 w 4671148"/>
              <a:gd name="connsiteY32" fmla="*/ 1802433 h 4671148"/>
              <a:gd name="connsiteX33" fmla="*/ 4496534 w 4671148"/>
              <a:gd name="connsiteY33" fmla="*/ 1450853 h 4671148"/>
              <a:gd name="connsiteX34" fmla="*/ 625183 w 4671148"/>
              <a:gd name="connsiteY34" fmla="*/ 1383056 h 4671148"/>
              <a:gd name="connsiteX35" fmla="*/ 852039 w 4671148"/>
              <a:gd name="connsiteY35" fmla="*/ 1752782 h 4671148"/>
              <a:gd name="connsiteX36" fmla="*/ 862742 w 4671148"/>
              <a:gd name="connsiteY36" fmla="*/ 1733555 h 4671148"/>
              <a:gd name="connsiteX37" fmla="*/ 815618 w 4671148"/>
              <a:gd name="connsiteY37" fmla="*/ 1862309 h 4671148"/>
              <a:gd name="connsiteX38" fmla="*/ 744067 w 4671148"/>
              <a:gd name="connsiteY38" fmla="*/ 2335574 h 4671148"/>
              <a:gd name="connsiteX39" fmla="*/ 2172852 w 4671148"/>
              <a:gd name="connsiteY39" fmla="*/ 3918864 h 4671148"/>
              <a:gd name="connsiteX40" fmla="*/ 2177176 w 4671148"/>
              <a:gd name="connsiteY40" fmla="*/ 3919083 h 4671148"/>
              <a:gd name="connsiteX41" fmla="*/ 1966751 w 4671148"/>
              <a:gd name="connsiteY41" fmla="*/ 4293098 h 4671148"/>
              <a:gd name="connsiteX42" fmla="*/ 2174881 w 4671148"/>
              <a:gd name="connsiteY42" fmla="*/ 4663034 h 4671148"/>
              <a:gd name="connsiteX43" fmla="*/ 2096775 w 4671148"/>
              <a:gd name="connsiteY43" fmla="*/ 4659090 h 4671148"/>
              <a:gd name="connsiteX44" fmla="*/ 0 w 4671148"/>
              <a:gd name="connsiteY44" fmla="*/ 2335574 h 4671148"/>
              <a:gd name="connsiteX45" fmla="*/ 183541 w 4671148"/>
              <a:gd name="connsiteY45" fmla="*/ 1426463 h 4671148"/>
              <a:gd name="connsiteX46" fmla="*/ 203538 w 4671148"/>
              <a:gd name="connsiteY46" fmla="*/ 1384952 h 4671148"/>
              <a:gd name="connsiteX47" fmla="*/ 625183 w 4671148"/>
              <a:gd name="connsiteY47" fmla="*/ 1383056 h 4671148"/>
              <a:gd name="connsiteX48" fmla="*/ 4442430 w 4671148"/>
              <a:gd name="connsiteY48" fmla="*/ 1321296 h 4671148"/>
              <a:gd name="connsiteX49" fmla="*/ 4503733 w 4671148"/>
              <a:gd name="connsiteY49" fmla="*/ 1439894 h 4671148"/>
              <a:gd name="connsiteX50" fmla="*/ 4496534 w 4671148"/>
              <a:gd name="connsiteY50" fmla="*/ 1450853 h 4671148"/>
              <a:gd name="connsiteX51" fmla="*/ 4487607 w 4671148"/>
              <a:gd name="connsiteY51" fmla="*/ 1426463 h 4671148"/>
              <a:gd name="connsiteX52" fmla="*/ 4439266 w 4671148"/>
              <a:gd name="connsiteY52" fmla="*/ 1326113 h 4671148"/>
              <a:gd name="connsiteX53" fmla="*/ 4442430 w 4671148"/>
              <a:gd name="connsiteY53" fmla="*/ 1321296 h 4671148"/>
              <a:gd name="connsiteX54" fmla="*/ 259711 w 4671148"/>
              <a:gd name="connsiteY54" fmla="*/ 1268344 h 4671148"/>
              <a:gd name="connsiteX55" fmla="*/ 203538 w 4671148"/>
              <a:gd name="connsiteY55" fmla="*/ 1384952 h 4671148"/>
              <a:gd name="connsiteX56" fmla="*/ 191412 w 4671148"/>
              <a:gd name="connsiteY56" fmla="*/ 1385006 h 4671148"/>
              <a:gd name="connsiteX57" fmla="*/ 256350 w 4671148"/>
              <a:gd name="connsiteY57" fmla="*/ 1268359 h 4671148"/>
              <a:gd name="connsiteX58" fmla="*/ 259711 w 4671148"/>
              <a:gd name="connsiteY58" fmla="*/ 1268344 h 4671148"/>
              <a:gd name="connsiteX59" fmla="*/ 2335574 w 4671148"/>
              <a:gd name="connsiteY59" fmla="*/ 0 h 4671148"/>
              <a:gd name="connsiteX60" fmla="*/ 4389257 w 4671148"/>
              <a:gd name="connsiteY60" fmla="*/ 1222301 h 4671148"/>
              <a:gd name="connsiteX61" fmla="*/ 4439266 w 4671148"/>
              <a:gd name="connsiteY61" fmla="*/ 1326113 h 4671148"/>
              <a:gd name="connsiteX62" fmla="*/ 4204258 w 4671148"/>
              <a:gd name="connsiteY62" fmla="*/ 1683835 h 4671148"/>
              <a:gd name="connsiteX63" fmla="*/ 3779224 w 4671148"/>
              <a:gd name="connsiteY63" fmla="*/ 1668782 h 4671148"/>
              <a:gd name="connsiteX64" fmla="*/ 3734995 w 4671148"/>
              <a:gd name="connsiteY64" fmla="*/ 1576967 h 4671148"/>
              <a:gd name="connsiteX65" fmla="*/ 2335574 w 4671148"/>
              <a:gd name="connsiteY65" fmla="*/ 744067 h 4671148"/>
              <a:gd name="connsiteX66" fmla="*/ 936154 w 4671148"/>
              <a:gd name="connsiteY66" fmla="*/ 1576967 h 4671148"/>
              <a:gd name="connsiteX67" fmla="*/ 911753 w 4671148"/>
              <a:gd name="connsiteY67" fmla="*/ 1627620 h 4671148"/>
              <a:gd name="connsiteX68" fmla="*/ 259711 w 4671148"/>
              <a:gd name="connsiteY68" fmla="*/ 1268344 h 4671148"/>
              <a:gd name="connsiteX69" fmla="*/ 281891 w 4671148"/>
              <a:gd name="connsiteY69" fmla="*/ 1222301 h 4671148"/>
              <a:gd name="connsiteX70" fmla="*/ 2335574 w 4671148"/>
              <a:gd name="connsiteY70"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927081 w 4671148"/>
              <a:gd name="connsiteY28" fmla="*/ 2335574 h 4671148"/>
              <a:gd name="connsiteX29" fmla="*/ 3855530 w 4671148"/>
              <a:gd name="connsiteY29" fmla="*/ 1862309 h 4671148"/>
              <a:gd name="connsiteX30" fmla="*/ 3818147 w 4671148"/>
              <a:gd name="connsiteY30" fmla="*/ 1760170 h 4671148"/>
              <a:gd name="connsiteX31" fmla="*/ 3832057 w 4671148"/>
              <a:gd name="connsiteY31" fmla="*/ 1787080 h 4671148"/>
              <a:gd name="connsiteX32" fmla="*/ 4265560 w 4671148"/>
              <a:gd name="connsiteY32" fmla="*/ 1802433 h 4671148"/>
              <a:gd name="connsiteX33" fmla="*/ 4496534 w 4671148"/>
              <a:gd name="connsiteY33" fmla="*/ 1450853 h 4671148"/>
              <a:gd name="connsiteX34" fmla="*/ 625183 w 4671148"/>
              <a:gd name="connsiteY34" fmla="*/ 1383056 h 4671148"/>
              <a:gd name="connsiteX35" fmla="*/ 852039 w 4671148"/>
              <a:gd name="connsiteY35" fmla="*/ 1752782 h 4671148"/>
              <a:gd name="connsiteX36" fmla="*/ 862742 w 4671148"/>
              <a:gd name="connsiteY36" fmla="*/ 1733555 h 4671148"/>
              <a:gd name="connsiteX37" fmla="*/ 815618 w 4671148"/>
              <a:gd name="connsiteY37" fmla="*/ 1862309 h 4671148"/>
              <a:gd name="connsiteX38" fmla="*/ 744067 w 4671148"/>
              <a:gd name="connsiteY38" fmla="*/ 2335574 h 4671148"/>
              <a:gd name="connsiteX39" fmla="*/ 2172852 w 4671148"/>
              <a:gd name="connsiteY39" fmla="*/ 3918864 h 4671148"/>
              <a:gd name="connsiteX40" fmla="*/ 2177176 w 4671148"/>
              <a:gd name="connsiteY40" fmla="*/ 3919083 h 4671148"/>
              <a:gd name="connsiteX41" fmla="*/ 1966751 w 4671148"/>
              <a:gd name="connsiteY41" fmla="*/ 4293098 h 4671148"/>
              <a:gd name="connsiteX42" fmla="*/ 2174881 w 4671148"/>
              <a:gd name="connsiteY42" fmla="*/ 4663034 h 4671148"/>
              <a:gd name="connsiteX43" fmla="*/ 2096775 w 4671148"/>
              <a:gd name="connsiteY43" fmla="*/ 4659090 h 4671148"/>
              <a:gd name="connsiteX44" fmla="*/ 0 w 4671148"/>
              <a:gd name="connsiteY44" fmla="*/ 2335574 h 4671148"/>
              <a:gd name="connsiteX45" fmla="*/ 183541 w 4671148"/>
              <a:gd name="connsiteY45" fmla="*/ 1426463 h 4671148"/>
              <a:gd name="connsiteX46" fmla="*/ 203538 w 4671148"/>
              <a:gd name="connsiteY46" fmla="*/ 1384952 h 4671148"/>
              <a:gd name="connsiteX47" fmla="*/ 625183 w 4671148"/>
              <a:gd name="connsiteY47" fmla="*/ 1383056 h 4671148"/>
              <a:gd name="connsiteX48" fmla="*/ 4442430 w 4671148"/>
              <a:gd name="connsiteY48" fmla="*/ 1321296 h 4671148"/>
              <a:gd name="connsiteX49" fmla="*/ 4503733 w 4671148"/>
              <a:gd name="connsiteY49" fmla="*/ 1439894 h 4671148"/>
              <a:gd name="connsiteX50" fmla="*/ 4496534 w 4671148"/>
              <a:gd name="connsiteY50" fmla="*/ 1450853 h 4671148"/>
              <a:gd name="connsiteX51" fmla="*/ 4487607 w 4671148"/>
              <a:gd name="connsiteY51" fmla="*/ 1426463 h 4671148"/>
              <a:gd name="connsiteX52" fmla="*/ 4439266 w 4671148"/>
              <a:gd name="connsiteY52" fmla="*/ 1326113 h 4671148"/>
              <a:gd name="connsiteX53" fmla="*/ 4442430 w 4671148"/>
              <a:gd name="connsiteY53" fmla="*/ 1321296 h 4671148"/>
              <a:gd name="connsiteX54" fmla="*/ 259711 w 4671148"/>
              <a:gd name="connsiteY54" fmla="*/ 1268344 h 4671148"/>
              <a:gd name="connsiteX55" fmla="*/ 203538 w 4671148"/>
              <a:gd name="connsiteY55" fmla="*/ 1384952 h 4671148"/>
              <a:gd name="connsiteX56" fmla="*/ 191412 w 4671148"/>
              <a:gd name="connsiteY56" fmla="*/ 1385006 h 4671148"/>
              <a:gd name="connsiteX57" fmla="*/ 256350 w 4671148"/>
              <a:gd name="connsiteY57" fmla="*/ 1268359 h 4671148"/>
              <a:gd name="connsiteX58" fmla="*/ 259711 w 4671148"/>
              <a:gd name="connsiteY58" fmla="*/ 1268344 h 4671148"/>
              <a:gd name="connsiteX59" fmla="*/ 2335574 w 4671148"/>
              <a:gd name="connsiteY59" fmla="*/ 0 h 4671148"/>
              <a:gd name="connsiteX60" fmla="*/ 4389257 w 4671148"/>
              <a:gd name="connsiteY60" fmla="*/ 1222301 h 4671148"/>
              <a:gd name="connsiteX61" fmla="*/ 4439266 w 4671148"/>
              <a:gd name="connsiteY61" fmla="*/ 1326113 h 4671148"/>
              <a:gd name="connsiteX62" fmla="*/ 4204258 w 4671148"/>
              <a:gd name="connsiteY62" fmla="*/ 1683835 h 4671148"/>
              <a:gd name="connsiteX63" fmla="*/ 3779224 w 4671148"/>
              <a:gd name="connsiteY63" fmla="*/ 1668782 h 4671148"/>
              <a:gd name="connsiteX64" fmla="*/ 3734995 w 4671148"/>
              <a:gd name="connsiteY64" fmla="*/ 1576967 h 4671148"/>
              <a:gd name="connsiteX65" fmla="*/ 2335574 w 4671148"/>
              <a:gd name="connsiteY65" fmla="*/ 744067 h 4671148"/>
              <a:gd name="connsiteX66" fmla="*/ 936154 w 4671148"/>
              <a:gd name="connsiteY66" fmla="*/ 1576967 h 4671148"/>
              <a:gd name="connsiteX67" fmla="*/ 911753 w 4671148"/>
              <a:gd name="connsiteY67" fmla="*/ 1627620 h 4671148"/>
              <a:gd name="connsiteX68" fmla="*/ 281891 w 4671148"/>
              <a:gd name="connsiteY68" fmla="*/ 1222301 h 4671148"/>
              <a:gd name="connsiteX69" fmla="*/ 2335574 w 4671148"/>
              <a:gd name="connsiteY69"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927081 w 4671148"/>
              <a:gd name="connsiteY28" fmla="*/ 2335574 h 4671148"/>
              <a:gd name="connsiteX29" fmla="*/ 3855530 w 4671148"/>
              <a:gd name="connsiteY29" fmla="*/ 1862309 h 4671148"/>
              <a:gd name="connsiteX30" fmla="*/ 3818147 w 4671148"/>
              <a:gd name="connsiteY30" fmla="*/ 1760170 h 4671148"/>
              <a:gd name="connsiteX31" fmla="*/ 3832057 w 4671148"/>
              <a:gd name="connsiteY31" fmla="*/ 1787080 h 4671148"/>
              <a:gd name="connsiteX32" fmla="*/ 4265560 w 4671148"/>
              <a:gd name="connsiteY32" fmla="*/ 1802433 h 4671148"/>
              <a:gd name="connsiteX33" fmla="*/ 4496534 w 4671148"/>
              <a:gd name="connsiteY33" fmla="*/ 1450853 h 4671148"/>
              <a:gd name="connsiteX34" fmla="*/ 625183 w 4671148"/>
              <a:gd name="connsiteY34" fmla="*/ 1383056 h 4671148"/>
              <a:gd name="connsiteX35" fmla="*/ 852039 w 4671148"/>
              <a:gd name="connsiteY35" fmla="*/ 1752782 h 4671148"/>
              <a:gd name="connsiteX36" fmla="*/ 862742 w 4671148"/>
              <a:gd name="connsiteY36" fmla="*/ 1733555 h 4671148"/>
              <a:gd name="connsiteX37" fmla="*/ 815618 w 4671148"/>
              <a:gd name="connsiteY37" fmla="*/ 1862309 h 4671148"/>
              <a:gd name="connsiteX38" fmla="*/ 744067 w 4671148"/>
              <a:gd name="connsiteY38" fmla="*/ 2335574 h 4671148"/>
              <a:gd name="connsiteX39" fmla="*/ 2172852 w 4671148"/>
              <a:gd name="connsiteY39" fmla="*/ 3918864 h 4671148"/>
              <a:gd name="connsiteX40" fmla="*/ 2177176 w 4671148"/>
              <a:gd name="connsiteY40" fmla="*/ 3919083 h 4671148"/>
              <a:gd name="connsiteX41" fmla="*/ 1966751 w 4671148"/>
              <a:gd name="connsiteY41" fmla="*/ 4293098 h 4671148"/>
              <a:gd name="connsiteX42" fmla="*/ 2174881 w 4671148"/>
              <a:gd name="connsiteY42" fmla="*/ 4663034 h 4671148"/>
              <a:gd name="connsiteX43" fmla="*/ 2096775 w 4671148"/>
              <a:gd name="connsiteY43" fmla="*/ 4659090 h 4671148"/>
              <a:gd name="connsiteX44" fmla="*/ 0 w 4671148"/>
              <a:gd name="connsiteY44" fmla="*/ 2335574 h 4671148"/>
              <a:gd name="connsiteX45" fmla="*/ 183541 w 4671148"/>
              <a:gd name="connsiteY45" fmla="*/ 1426463 h 4671148"/>
              <a:gd name="connsiteX46" fmla="*/ 203538 w 4671148"/>
              <a:gd name="connsiteY46" fmla="*/ 1384952 h 4671148"/>
              <a:gd name="connsiteX47" fmla="*/ 625183 w 4671148"/>
              <a:gd name="connsiteY47" fmla="*/ 1383056 h 4671148"/>
              <a:gd name="connsiteX48" fmla="*/ 4442430 w 4671148"/>
              <a:gd name="connsiteY48" fmla="*/ 1321296 h 4671148"/>
              <a:gd name="connsiteX49" fmla="*/ 4503733 w 4671148"/>
              <a:gd name="connsiteY49" fmla="*/ 1439894 h 4671148"/>
              <a:gd name="connsiteX50" fmla="*/ 4496534 w 4671148"/>
              <a:gd name="connsiteY50" fmla="*/ 1450853 h 4671148"/>
              <a:gd name="connsiteX51" fmla="*/ 4487607 w 4671148"/>
              <a:gd name="connsiteY51" fmla="*/ 1426463 h 4671148"/>
              <a:gd name="connsiteX52" fmla="*/ 4439266 w 4671148"/>
              <a:gd name="connsiteY52" fmla="*/ 1326113 h 4671148"/>
              <a:gd name="connsiteX53" fmla="*/ 4442430 w 4671148"/>
              <a:gd name="connsiteY53" fmla="*/ 1321296 h 4671148"/>
              <a:gd name="connsiteX54" fmla="*/ 259711 w 4671148"/>
              <a:gd name="connsiteY54" fmla="*/ 1268344 h 4671148"/>
              <a:gd name="connsiteX55" fmla="*/ 203538 w 4671148"/>
              <a:gd name="connsiteY55" fmla="*/ 1384952 h 4671148"/>
              <a:gd name="connsiteX56" fmla="*/ 191412 w 4671148"/>
              <a:gd name="connsiteY56" fmla="*/ 1385006 h 4671148"/>
              <a:gd name="connsiteX57" fmla="*/ 256350 w 4671148"/>
              <a:gd name="connsiteY57" fmla="*/ 1268359 h 4671148"/>
              <a:gd name="connsiteX58" fmla="*/ 259711 w 4671148"/>
              <a:gd name="connsiteY58" fmla="*/ 1268344 h 4671148"/>
              <a:gd name="connsiteX59" fmla="*/ 2335574 w 4671148"/>
              <a:gd name="connsiteY59" fmla="*/ 0 h 4671148"/>
              <a:gd name="connsiteX60" fmla="*/ 4389257 w 4671148"/>
              <a:gd name="connsiteY60" fmla="*/ 1222301 h 4671148"/>
              <a:gd name="connsiteX61" fmla="*/ 4439266 w 4671148"/>
              <a:gd name="connsiteY61" fmla="*/ 1326113 h 4671148"/>
              <a:gd name="connsiteX62" fmla="*/ 4204258 w 4671148"/>
              <a:gd name="connsiteY62" fmla="*/ 1683835 h 4671148"/>
              <a:gd name="connsiteX63" fmla="*/ 3779224 w 4671148"/>
              <a:gd name="connsiteY63" fmla="*/ 1668782 h 4671148"/>
              <a:gd name="connsiteX64" fmla="*/ 3734995 w 4671148"/>
              <a:gd name="connsiteY64" fmla="*/ 1576967 h 4671148"/>
              <a:gd name="connsiteX65" fmla="*/ 2335574 w 4671148"/>
              <a:gd name="connsiteY65" fmla="*/ 744067 h 4671148"/>
              <a:gd name="connsiteX66" fmla="*/ 936154 w 4671148"/>
              <a:gd name="connsiteY66" fmla="*/ 1576967 h 4671148"/>
              <a:gd name="connsiteX67" fmla="*/ 911753 w 4671148"/>
              <a:gd name="connsiteY67" fmla="*/ 1627620 h 4671148"/>
              <a:gd name="connsiteX68" fmla="*/ 2335574 w 4671148"/>
              <a:gd name="connsiteY68"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927081 w 4671148"/>
              <a:gd name="connsiteY28" fmla="*/ 2335574 h 4671148"/>
              <a:gd name="connsiteX29" fmla="*/ 3855530 w 4671148"/>
              <a:gd name="connsiteY29" fmla="*/ 1862309 h 4671148"/>
              <a:gd name="connsiteX30" fmla="*/ 3818147 w 4671148"/>
              <a:gd name="connsiteY30" fmla="*/ 1760170 h 4671148"/>
              <a:gd name="connsiteX31" fmla="*/ 3832057 w 4671148"/>
              <a:gd name="connsiteY31" fmla="*/ 1787080 h 4671148"/>
              <a:gd name="connsiteX32" fmla="*/ 4265560 w 4671148"/>
              <a:gd name="connsiteY32" fmla="*/ 1802433 h 4671148"/>
              <a:gd name="connsiteX33" fmla="*/ 4496534 w 4671148"/>
              <a:gd name="connsiteY33" fmla="*/ 1450853 h 4671148"/>
              <a:gd name="connsiteX34" fmla="*/ 625183 w 4671148"/>
              <a:gd name="connsiteY34" fmla="*/ 1383056 h 4671148"/>
              <a:gd name="connsiteX35" fmla="*/ 852039 w 4671148"/>
              <a:gd name="connsiteY35" fmla="*/ 1752782 h 4671148"/>
              <a:gd name="connsiteX36" fmla="*/ 862742 w 4671148"/>
              <a:gd name="connsiteY36" fmla="*/ 1733555 h 4671148"/>
              <a:gd name="connsiteX37" fmla="*/ 815618 w 4671148"/>
              <a:gd name="connsiteY37" fmla="*/ 1862309 h 4671148"/>
              <a:gd name="connsiteX38" fmla="*/ 744067 w 4671148"/>
              <a:gd name="connsiteY38" fmla="*/ 2335574 h 4671148"/>
              <a:gd name="connsiteX39" fmla="*/ 2172852 w 4671148"/>
              <a:gd name="connsiteY39" fmla="*/ 3918864 h 4671148"/>
              <a:gd name="connsiteX40" fmla="*/ 2177176 w 4671148"/>
              <a:gd name="connsiteY40" fmla="*/ 3919083 h 4671148"/>
              <a:gd name="connsiteX41" fmla="*/ 1966751 w 4671148"/>
              <a:gd name="connsiteY41" fmla="*/ 4293098 h 4671148"/>
              <a:gd name="connsiteX42" fmla="*/ 2174881 w 4671148"/>
              <a:gd name="connsiteY42" fmla="*/ 4663034 h 4671148"/>
              <a:gd name="connsiteX43" fmla="*/ 2096775 w 4671148"/>
              <a:gd name="connsiteY43" fmla="*/ 4659090 h 4671148"/>
              <a:gd name="connsiteX44" fmla="*/ 0 w 4671148"/>
              <a:gd name="connsiteY44" fmla="*/ 2335574 h 4671148"/>
              <a:gd name="connsiteX45" fmla="*/ 183541 w 4671148"/>
              <a:gd name="connsiteY45" fmla="*/ 1426463 h 4671148"/>
              <a:gd name="connsiteX46" fmla="*/ 203538 w 4671148"/>
              <a:gd name="connsiteY46" fmla="*/ 1384952 h 4671148"/>
              <a:gd name="connsiteX47" fmla="*/ 625183 w 4671148"/>
              <a:gd name="connsiteY47" fmla="*/ 1383056 h 4671148"/>
              <a:gd name="connsiteX48" fmla="*/ 4442430 w 4671148"/>
              <a:gd name="connsiteY48" fmla="*/ 1321296 h 4671148"/>
              <a:gd name="connsiteX49" fmla="*/ 4503733 w 4671148"/>
              <a:gd name="connsiteY49" fmla="*/ 1439894 h 4671148"/>
              <a:gd name="connsiteX50" fmla="*/ 4496534 w 4671148"/>
              <a:gd name="connsiteY50" fmla="*/ 1450853 h 4671148"/>
              <a:gd name="connsiteX51" fmla="*/ 4487607 w 4671148"/>
              <a:gd name="connsiteY51" fmla="*/ 1426463 h 4671148"/>
              <a:gd name="connsiteX52" fmla="*/ 4439266 w 4671148"/>
              <a:gd name="connsiteY52" fmla="*/ 1326113 h 4671148"/>
              <a:gd name="connsiteX53" fmla="*/ 4442430 w 4671148"/>
              <a:gd name="connsiteY53" fmla="*/ 1321296 h 4671148"/>
              <a:gd name="connsiteX54" fmla="*/ 259711 w 4671148"/>
              <a:gd name="connsiteY54" fmla="*/ 1268344 h 4671148"/>
              <a:gd name="connsiteX55" fmla="*/ 203538 w 4671148"/>
              <a:gd name="connsiteY55" fmla="*/ 1384952 h 4671148"/>
              <a:gd name="connsiteX56" fmla="*/ 191412 w 4671148"/>
              <a:gd name="connsiteY56" fmla="*/ 1385006 h 4671148"/>
              <a:gd name="connsiteX57" fmla="*/ 256350 w 4671148"/>
              <a:gd name="connsiteY57" fmla="*/ 1268359 h 4671148"/>
              <a:gd name="connsiteX58" fmla="*/ 259711 w 4671148"/>
              <a:gd name="connsiteY58" fmla="*/ 1268344 h 4671148"/>
              <a:gd name="connsiteX59" fmla="*/ 2335574 w 4671148"/>
              <a:gd name="connsiteY59" fmla="*/ 0 h 4671148"/>
              <a:gd name="connsiteX60" fmla="*/ 4389257 w 4671148"/>
              <a:gd name="connsiteY60" fmla="*/ 1222301 h 4671148"/>
              <a:gd name="connsiteX61" fmla="*/ 4439266 w 4671148"/>
              <a:gd name="connsiteY61" fmla="*/ 1326113 h 4671148"/>
              <a:gd name="connsiteX62" fmla="*/ 4204258 w 4671148"/>
              <a:gd name="connsiteY62" fmla="*/ 1683835 h 4671148"/>
              <a:gd name="connsiteX63" fmla="*/ 3779224 w 4671148"/>
              <a:gd name="connsiteY63" fmla="*/ 1668782 h 4671148"/>
              <a:gd name="connsiteX64" fmla="*/ 3734995 w 4671148"/>
              <a:gd name="connsiteY64" fmla="*/ 1576967 h 4671148"/>
              <a:gd name="connsiteX65" fmla="*/ 2335574 w 4671148"/>
              <a:gd name="connsiteY65" fmla="*/ 744067 h 4671148"/>
              <a:gd name="connsiteX66" fmla="*/ 911753 w 4671148"/>
              <a:gd name="connsiteY66" fmla="*/ 1627620 h 4671148"/>
              <a:gd name="connsiteX67" fmla="*/ 2335574 w 4671148"/>
              <a:gd name="connsiteY67" fmla="*/ 0 h 467114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911753 w 4671148"/>
              <a:gd name="connsiteY15" fmla="*/ 1635300 h 4678828"/>
              <a:gd name="connsiteX16" fmla="*/ 916978 w 4671148"/>
              <a:gd name="connsiteY16" fmla="*/ 1643814 h 4678828"/>
              <a:gd name="connsiteX17" fmla="*/ 862742 w 4671148"/>
              <a:gd name="connsiteY17" fmla="*/ 1741235 h 4678828"/>
              <a:gd name="connsiteX18" fmla="*/ 869136 w 4671148"/>
              <a:gd name="connsiteY18" fmla="*/ 1723768 h 4678828"/>
              <a:gd name="connsiteX19" fmla="*/ 911753 w 4671148"/>
              <a:gd name="connsiteY19" fmla="*/ 1635300 h 4678828"/>
              <a:gd name="connsiteX20" fmla="*/ 4496534 w 4671148"/>
              <a:gd name="connsiteY20" fmla="*/ 1458533 h 4678828"/>
              <a:gd name="connsiteX21" fmla="*/ 4566145 w 4671148"/>
              <a:gd name="connsiteY21" fmla="*/ 1648726 h 4678828"/>
              <a:gd name="connsiteX22" fmla="*/ 4671148 w 4671148"/>
              <a:gd name="connsiteY22" fmla="*/ 2343254 h 4678828"/>
              <a:gd name="connsiteX23" fmla="*/ 2335574 w 4671148"/>
              <a:gd name="connsiteY23" fmla="*/ 4678828 h 4678828"/>
              <a:gd name="connsiteX24" fmla="*/ 2312290 w 4671148"/>
              <a:gd name="connsiteY24" fmla="*/ 4677652 h 4678828"/>
              <a:gd name="connsiteX25" fmla="*/ 2100256 w 4671148"/>
              <a:gd name="connsiteY25" fmla="*/ 4300778 h 4678828"/>
              <a:gd name="connsiteX26" fmla="*/ 2306993 w 4671148"/>
              <a:gd name="connsiteY26" fmla="*/ 3933318 h 4678828"/>
              <a:gd name="connsiteX27" fmla="*/ 2335574 w 4671148"/>
              <a:gd name="connsiteY27" fmla="*/ 3934761 h 4678828"/>
              <a:gd name="connsiteX28" fmla="*/ 3927081 w 4671148"/>
              <a:gd name="connsiteY28" fmla="*/ 2343254 h 4678828"/>
              <a:gd name="connsiteX29" fmla="*/ 3855530 w 4671148"/>
              <a:gd name="connsiteY29" fmla="*/ 1869989 h 4678828"/>
              <a:gd name="connsiteX30" fmla="*/ 3818147 w 4671148"/>
              <a:gd name="connsiteY30" fmla="*/ 1767850 h 4678828"/>
              <a:gd name="connsiteX31" fmla="*/ 3832057 w 4671148"/>
              <a:gd name="connsiteY31" fmla="*/ 1794760 h 4678828"/>
              <a:gd name="connsiteX32" fmla="*/ 4265560 w 4671148"/>
              <a:gd name="connsiteY32" fmla="*/ 1810113 h 4678828"/>
              <a:gd name="connsiteX33" fmla="*/ 4496534 w 4671148"/>
              <a:gd name="connsiteY33" fmla="*/ 1458533 h 4678828"/>
              <a:gd name="connsiteX34" fmla="*/ 625183 w 4671148"/>
              <a:gd name="connsiteY34" fmla="*/ 1390736 h 4678828"/>
              <a:gd name="connsiteX35" fmla="*/ 852039 w 4671148"/>
              <a:gd name="connsiteY35" fmla="*/ 1760462 h 4678828"/>
              <a:gd name="connsiteX36" fmla="*/ 862742 w 4671148"/>
              <a:gd name="connsiteY36" fmla="*/ 1741235 h 4678828"/>
              <a:gd name="connsiteX37" fmla="*/ 815618 w 4671148"/>
              <a:gd name="connsiteY37" fmla="*/ 1869989 h 4678828"/>
              <a:gd name="connsiteX38" fmla="*/ 744067 w 4671148"/>
              <a:gd name="connsiteY38" fmla="*/ 2343254 h 4678828"/>
              <a:gd name="connsiteX39" fmla="*/ 2172852 w 4671148"/>
              <a:gd name="connsiteY39" fmla="*/ 3926544 h 4678828"/>
              <a:gd name="connsiteX40" fmla="*/ 2177176 w 4671148"/>
              <a:gd name="connsiteY40" fmla="*/ 3926763 h 4678828"/>
              <a:gd name="connsiteX41" fmla="*/ 1966751 w 4671148"/>
              <a:gd name="connsiteY41" fmla="*/ 4300778 h 4678828"/>
              <a:gd name="connsiteX42" fmla="*/ 2174881 w 4671148"/>
              <a:gd name="connsiteY42" fmla="*/ 4670714 h 4678828"/>
              <a:gd name="connsiteX43" fmla="*/ 2096775 w 4671148"/>
              <a:gd name="connsiteY43" fmla="*/ 4666770 h 4678828"/>
              <a:gd name="connsiteX44" fmla="*/ 0 w 4671148"/>
              <a:gd name="connsiteY44" fmla="*/ 2343254 h 4678828"/>
              <a:gd name="connsiteX45" fmla="*/ 183541 w 4671148"/>
              <a:gd name="connsiteY45" fmla="*/ 1434143 h 4678828"/>
              <a:gd name="connsiteX46" fmla="*/ 203538 w 4671148"/>
              <a:gd name="connsiteY46" fmla="*/ 1392632 h 4678828"/>
              <a:gd name="connsiteX47" fmla="*/ 625183 w 4671148"/>
              <a:gd name="connsiteY47" fmla="*/ 1390736 h 4678828"/>
              <a:gd name="connsiteX48" fmla="*/ 4442430 w 4671148"/>
              <a:gd name="connsiteY48" fmla="*/ 1328976 h 4678828"/>
              <a:gd name="connsiteX49" fmla="*/ 4503733 w 4671148"/>
              <a:gd name="connsiteY49" fmla="*/ 1447574 h 4678828"/>
              <a:gd name="connsiteX50" fmla="*/ 4496534 w 4671148"/>
              <a:gd name="connsiteY50" fmla="*/ 1458533 h 4678828"/>
              <a:gd name="connsiteX51" fmla="*/ 4487607 w 4671148"/>
              <a:gd name="connsiteY51" fmla="*/ 1434143 h 4678828"/>
              <a:gd name="connsiteX52" fmla="*/ 4439266 w 4671148"/>
              <a:gd name="connsiteY52" fmla="*/ 1333793 h 4678828"/>
              <a:gd name="connsiteX53" fmla="*/ 4442430 w 4671148"/>
              <a:gd name="connsiteY53" fmla="*/ 1328976 h 4678828"/>
              <a:gd name="connsiteX54" fmla="*/ 259711 w 4671148"/>
              <a:gd name="connsiteY54" fmla="*/ 1276024 h 4678828"/>
              <a:gd name="connsiteX55" fmla="*/ 203538 w 4671148"/>
              <a:gd name="connsiteY55" fmla="*/ 1392632 h 4678828"/>
              <a:gd name="connsiteX56" fmla="*/ 191412 w 4671148"/>
              <a:gd name="connsiteY56" fmla="*/ 1392686 h 4678828"/>
              <a:gd name="connsiteX57" fmla="*/ 256350 w 4671148"/>
              <a:gd name="connsiteY57" fmla="*/ 1276039 h 4678828"/>
              <a:gd name="connsiteX58" fmla="*/ 259711 w 4671148"/>
              <a:gd name="connsiteY58" fmla="*/ 1276024 h 4678828"/>
              <a:gd name="connsiteX59" fmla="*/ 2335574 w 4671148"/>
              <a:gd name="connsiteY59" fmla="*/ 7680 h 4678828"/>
              <a:gd name="connsiteX60" fmla="*/ 4389257 w 4671148"/>
              <a:gd name="connsiteY60" fmla="*/ 1229981 h 4678828"/>
              <a:gd name="connsiteX61" fmla="*/ 4439266 w 4671148"/>
              <a:gd name="connsiteY61" fmla="*/ 1333793 h 4678828"/>
              <a:gd name="connsiteX62" fmla="*/ 4204258 w 4671148"/>
              <a:gd name="connsiteY62" fmla="*/ 1691515 h 4678828"/>
              <a:gd name="connsiteX63" fmla="*/ 3779224 w 4671148"/>
              <a:gd name="connsiteY63" fmla="*/ 1676462 h 4678828"/>
              <a:gd name="connsiteX64" fmla="*/ 3734995 w 4671148"/>
              <a:gd name="connsiteY64" fmla="*/ 1584647 h 4678828"/>
              <a:gd name="connsiteX65" fmla="*/ 2335574 w 4671148"/>
              <a:gd name="connsiteY65" fmla="*/ 751747 h 4678828"/>
              <a:gd name="connsiteX66" fmla="*/ 2335574 w 4671148"/>
              <a:gd name="connsiteY66"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869136 w 4671148"/>
              <a:gd name="connsiteY15" fmla="*/ 1723768 h 4678828"/>
              <a:gd name="connsiteX16" fmla="*/ 916978 w 4671148"/>
              <a:gd name="connsiteY16" fmla="*/ 1643814 h 4678828"/>
              <a:gd name="connsiteX17" fmla="*/ 862742 w 4671148"/>
              <a:gd name="connsiteY17" fmla="*/ 1741235 h 4678828"/>
              <a:gd name="connsiteX18" fmla="*/ 869136 w 4671148"/>
              <a:gd name="connsiteY18" fmla="*/ 1723768 h 4678828"/>
              <a:gd name="connsiteX19" fmla="*/ 4496534 w 4671148"/>
              <a:gd name="connsiteY19" fmla="*/ 1458533 h 4678828"/>
              <a:gd name="connsiteX20" fmla="*/ 4566145 w 4671148"/>
              <a:gd name="connsiteY20" fmla="*/ 1648726 h 4678828"/>
              <a:gd name="connsiteX21" fmla="*/ 4671148 w 4671148"/>
              <a:gd name="connsiteY21" fmla="*/ 2343254 h 4678828"/>
              <a:gd name="connsiteX22" fmla="*/ 2335574 w 4671148"/>
              <a:gd name="connsiteY22" fmla="*/ 4678828 h 4678828"/>
              <a:gd name="connsiteX23" fmla="*/ 2312290 w 4671148"/>
              <a:gd name="connsiteY23" fmla="*/ 4677652 h 4678828"/>
              <a:gd name="connsiteX24" fmla="*/ 2100256 w 4671148"/>
              <a:gd name="connsiteY24" fmla="*/ 4300778 h 4678828"/>
              <a:gd name="connsiteX25" fmla="*/ 2306993 w 4671148"/>
              <a:gd name="connsiteY25" fmla="*/ 3933318 h 4678828"/>
              <a:gd name="connsiteX26" fmla="*/ 2335574 w 4671148"/>
              <a:gd name="connsiteY26" fmla="*/ 3934761 h 4678828"/>
              <a:gd name="connsiteX27" fmla="*/ 3927081 w 4671148"/>
              <a:gd name="connsiteY27" fmla="*/ 2343254 h 4678828"/>
              <a:gd name="connsiteX28" fmla="*/ 3855530 w 4671148"/>
              <a:gd name="connsiteY28" fmla="*/ 1869989 h 4678828"/>
              <a:gd name="connsiteX29" fmla="*/ 3818147 w 4671148"/>
              <a:gd name="connsiteY29" fmla="*/ 1767850 h 4678828"/>
              <a:gd name="connsiteX30" fmla="*/ 3832057 w 4671148"/>
              <a:gd name="connsiteY30" fmla="*/ 1794760 h 4678828"/>
              <a:gd name="connsiteX31" fmla="*/ 4265560 w 4671148"/>
              <a:gd name="connsiteY31" fmla="*/ 1810113 h 4678828"/>
              <a:gd name="connsiteX32" fmla="*/ 4496534 w 4671148"/>
              <a:gd name="connsiteY32" fmla="*/ 1458533 h 4678828"/>
              <a:gd name="connsiteX33" fmla="*/ 625183 w 4671148"/>
              <a:gd name="connsiteY33" fmla="*/ 1390736 h 4678828"/>
              <a:gd name="connsiteX34" fmla="*/ 852039 w 4671148"/>
              <a:gd name="connsiteY34" fmla="*/ 1760462 h 4678828"/>
              <a:gd name="connsiteX35" fmla="*/ 862742 w 4671148"/>
              <a:gd name="connsiteY35" fmla="*/ 1741235 h 4678828"/>
              <a:gd name="connsiteX36" fmla="*/ 815618 w 4671148"/>
              <a:gd name="connsiteY36" fmla="*/ 1869989 h 4678828"/>
              <a:gd name="connsiteX37" fmla="*/ 744067 w 4671148"/>
              <a:gd name="connsiteY37" fmla="*/ 2343254 h 4678828"/>
              <a:gd name="connsiteX38" fmla="*/ 2172852 w 4671148"/>
              <a:gd name="connsiteY38" fmla="*/ 3926544 h 4678828"/>
              <a:gd name="connsiteX39" fmla="*/ 2177176 w 4671148"/>
              <a:gd name="connsiteY39" fmla="*/ 3926763 h 4678828"/>
              <a:gd name="connsiteX40" fmla="*/ 1966751 w 4671148"/>
              <a:gd name="connsiteY40" fmla="*/ 4300778 h 4678828"/>
              <a:gd name="connsiteX41" fmla="*/ 2174881 w 4671148"/>
              <a:gd name="connsiteY41" fmla="*/ 4670714 h 4678828"/>
              <a:gd name="connsiteX42" fmla="*/ 2096775 w 4671148"/>
              <a:gd name="connsiteY42" fmla="*/ 4666770 h 4678828"/>
              <a:gd name="connsiteX43" fmla="*/ 0 w 4671148"/>
              <a:gd name="connsiteY43" fmla="*/ 2343254 h 4678828"/>
              <a:gd name="connsiteX44" fmla="*/ 183541 w 4671148"/>
              <a:gd name="connsiteY44" fmla="*/ 1434143 h 4678828"/>
              <a:gd name="connsiteX45" fmla="*/ 203538 w 4671148"/>
              <a:gd name="connsiteY45" fmla="*/ 1392632 h 4678828"/>
              <a:gd name="connsiteX46" fmla="*/ 625183 w 4671148"/>
              <a:gd name="connsiteY46" fmla="*/ 1390736 h 4678828"/>
              <a:gd name="connsiteX47" fmla="*/ 4442430 w 4671148"/>
              <a:gd name="connsiteY47" fmla="*/ 1328976 h 4678828"/>
              <a:gd name="connsiteX48" fmla="*/ 4503733 w 4671148"/>
              <a:gd name="connsiteY48" fmla="*/ 1447574 h 4678828"/>
              <a:gd name="connsiteX49" fmla="*/ 4496534 w 4671148"/>
              <a:gd name="connsiteY49" fmla="*/ 1458533 h 4678828"/>
              <a:gd name="connsiteX50" fmla="*/ 4487607 w 4671148"/>
              <a:gd name="connsiteY50" fmla="*/ 1434143 h 4678828"/>
              <a:gd name="connsiteX51" fmla="*/ 4439266 w 4671148"/>
              <a:gd name="connsiteY51" fmla="*/ 1333793 h 4678828"/>
              <a:gd name="connsiteX52" fmla="*/ 4442430 w 4671148"/>
              <a:gd name="connsiteY52" fmla="*/ 1328976 h 4678828"/>
              <a:gd name="connsiteX53" fmla="*/ 259711 w 4671148"/>
              <a:gd name="connsiteY53" fmla="*/ 1276024 h 4678828"/>
              <a:gd name="connsiteX54" fmla="*/ 203538 w 4671148"/>
              <a:gd name="connsiteY54" fmla="*/ 1392632 h 4678828"/>
              <a:gd name="connsiteX55" fmla="*/ 191412 w 4671148"/>
              <a:gd name="connsiteY55" fmla="*/ 1392686 h 4678828"/>
              <a:gd name="connsiteX56" fmla="*/ 256350 w 4671148"/>
              <a:gd name="connsiteY56" fmla="*/ 1276039 h 4678828"/>
              <a:gd name="connsiteX57" fmla="*/ 259711 w 4671148"/>
              <a:gd name="connsiteY57" fmla="*/ 1276024 h 4678828"/>
              <a:gd name="connsiteX58" fmla="*/ 2335574 w 4671148"/>
              <a:gd name="connsiteY58" fmla="*/ 7680 h 4678828"/>
              <a:gd name="connsiteX59" fmla="*/ 4389257 w 4671148"/>
              <a:gd name="connsiteY59" fmla="*/ 1229981 h 4678828"/>
              <a:gd name="connsiteX60" fmla="*/ 4439266 w 4671148"/>
              <a:gd name="connsiteY60" fmla="*/ 1333793 h 4678828"/>
              <a:gd name="connsiteX61" fmla="*/ 4204258 w 4671148"/>
              <a:gd name="connsiteY61" fmla="*/ 1691515 h 4678828"/>
              <a:gd name="connsiteX62" fmla="*/ 3779224 w 4671148"/>
              <a:gd name="connsiteY62" fmla="*/ 1676462 h 4678828"/>
              <a:gd name="connsiteX63" fmla="*/ 3734995 w 4671148"/>
              <a:gd name="connsiteY63" fmla="*/ 1584647 h 4678828"/>
              <a:gd name="connsiteX64" fmla="*/ 2335574 w 4671148"/>
              <a:gd name="connsiteY64" fmla="*/ 751747 h 4678828"/>
              <a:gd name="connsiteX65" fmla="*/ 2335574 w 4671148"/>
              <a:gd name="connsiteY65"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869136 w 4671148"/>
              <a:gd name="connsiteY15" fmla="*/ 1723768 h 4678828"/>
              <a:gd name="connsiteX16" fmla="*/ 862742 w 4671148"/>
              <a:gd name="connsiteY16" fmla="*/ 1741235 h 4678828"/>
              <a:gd name="connsiteX17" fmla="*/ 869136 w 4671148"/>
              <a:gd name="connsiteY17" fmla="*/ 1723768 h 4678828"/>
              <a:gd name="connsiteX18" fmla="*/ 4496534 w 4671148"/>
              <a:gd name="connsiteY18" fmla="*/ 1458533 h 4678828"/>
              <a:gd name="connsiteX19" fmla="*/ 4566145 w 4671148"/>
              <a:gd name="connsiteY19" fmla="*/ 1648726 h 4678828"/>
              <a:gd name="connsiteX20" fmla="*/ 4671148 w 4671148"/>
              <a:gd name="connsiteY20" fmla="*/ 2343254 h 4678828"/>
              <a:gd name="connsiteX21" fmla="*/ 2335574 w 4671148"/>
              <a:gd name="connsiteY21" fmla="*/ 4678828 h 4678828"/>
              <a:gd name="connsiteX22" fmla="*/ 2312290 w 4671148"/>
              <a:gd name="connsiteY22" fmla="*/ 4677652 h 4678828"/>
              <a:gd name="connsiteX23" fmla="*/ 2100256 w 4671148"/>
              <a:gd name="connsiteY23" fmla="*/ 4300778 h 4678828"/>
              <a:gd name="connsiteX24" fmla="*/ 2306993 w 4671148"/>
              <a:gd name="connsiteY24" fmla="*/ 3933318 h 4678828"/>
              <a:gd name="connsiteX25" fmla="*/ 2335574 w 4671148"/>
              <a:gd name="connsiteY25" fmla="*/ 3934761 h 4678828"/>
              <a:gd name="connsiteX26" fmla="*/ 3927081 w 4671148"/>
              <a:gd name="connsiteY26" fmla="*/ 2343254 h 4678828"/>
              <a:gd name="connsiteX27" fmla="*/ 3855530 w 4671148"/>
              <a:gd name="connsiteY27" fmla="*/ 1869989 h 4678828"/>
              <a:gd name="connsiteX28" fmla="*/ 3818147 w 4671148"/>
              <a:gd name="connsiteY28" fmla="*/ 1767850 h 4678828"/>
              <a:gd name="connsiteX29" fmla="*/ 3832057 w 4671148"/>
              <a:gd name="connsiteY29" fmla="*/ 1794760 h 4678828"/>
              <a:gd name="connsiteX30" fmla="*/ 4265560 w 4671148"/>
              <a:gd name="connsiteY30" fmla="*/ 1810113 h 4678828"/>
              <a:gd name="connsiteX31" fmla="*/ 4496534 w 4671148"/>
              <a:gd name="connsiteY31" fmla="*/ 1458533 h 4678828"/>
              <a:gd name="connsiteX32" fmla="*/ 625183 w 4671148"/>
              <a:gd name="connsiteY32" fmla="*/ 1390736 h 4678828"/>
              <a:gd name="connsiteX33" fmla="*/ 852039 w 4671148"/>
              <a:gd name="connsiteY33" fmla="*/ 1760462 h 4678828"/>
              <a:gd name="connsiteX34" fmla="*/ 862742 w 4671148"/>
              <a:gd name="connsiteY34" fmla="*/ 1741235 h 4678828"/>
              <a:gd name="connsiteX35" fmla="*/ 815618 w 4671148"/>
              <a:gd name="connsiteY35" fmla="*/ 1869989 h 4678828"/>
              <a:gd name="connsiteX36" fmla="*/ 744067 w 4671148"/>
              <a:gd name="connsiteY36" fmla="*/ 2343254 h 4678828"/>
              <a:gd name="connsiteX37" fmla="*/ 2172852 w 4671148"/>
              <a:gd name="connsiteY37" fmla="*/ 3926544 h 4678828"/>
              <a:gd name="connsiteX38" fmla="*/ 2177176 w 4671148"/>
              <a:gd name="connsiteY38" fmla="*/ 3926763 h 4678828"/>
              <a:gd name="connsiteX39" fmla="*/ 1966751 w 4671148"/>
              <a:gd name="connsiteY39" fmla="*/ 4300778 h 4678828"/>
              <a:gd name="connsiteX40" fmla="*/ 2174881 w 4671148"/>
              <a:gd name="connsiteY40" fmla="*/ 4670714 h 4678828"/>
              <a:gd name="connsiteX41" fmla="*/ 2096775 w 4671148"/>
              <a:gd name="connsiteY41" fmla="*/ 4666770 h 4678828"/>
              <a:gd name="connsiteX42" fmla="*/ 0 w 4671148"/>
              <a:gd name="connsiteY42" fmla="*/ 2343254 h 4678828"/>
              <a:gd name="connsiteX43" fmla="*/ 183541 w 4671148"/>
              <a:gd name="connsiteY43" fmla="*/ 1434143 h 4678828"/>
              <a:gd name="connsiteX44" fmla="*/ 203538 w 4671148"/>
              <a:gd name="connsiteY44" fmla="*/ 1392632 h 4678828"/>
              <a:gd name="connsiteX45" fmla="*/ 625183 w 4671148"/>
              <a:gd name="connsiteY45" fmla="*/ 1390736 h 4678828"/>
              <a:gd name="connsiteX46" fmla="*/ 4442430 w 4671148"/>
              <a:gd name="connsiteY46" fmla="*/ 1328976 h 4678828"/>
              <a:gd name="connsiteX47" fmla="*/ 4503733 w 4671148"/>
              <a:gd name="connsiteY47" fmla="*/ 1447574 h 4678828"/>
              <a:gd name="connsiteX48" fmla="*/ 4496534 w 4671148"/>
              <a:gd name="connsiteY48" fmla="*/ 1458533 h 4678828"/>
              <a:gd name="connsiteX49" fmla="*/ 4487607 w 4671148"/>
              <a:gd name="connsiteY49" fmla="*/ 1434143 h 4678828"/>
              <a:gd name="connsiteX50" fmla="*/ 4439266 w 4671148"/>
              <a:gd name="connsiteY50" fmla="*/ 1333793 h 4678828"/>
              <a:gd name="connsiteX51" fmla="*/ 4442430 w 4671148"/>
              <a:gd name="connsiteY51" fmla="*/ 1328976 h 4678828"/>
              <a:gd name="connsiteX52" fmla="*/ 259711 w 4671148"/>
              <a:gd name="connsiteY52" fmla="*/ 1276024 h 4678828"/>
              <a:gd name="connsiteX53" fmla="*/ 203538 w 4671148"/>
              <a:gd name="connsiteY53" fmla="*/ 1392632 h 4678828"/>
              <a:gd name="connsiteX54" fmla="*/ 191412 w 4671148"/>
              <a:gd name="connsiteY54" fmla="*/ 1392686 h 4678828"/>
              <a:gd name="connsiteX55" fmla="*/ 256350 w 4671148"/>
              <a:gd name="connsiteY55" fmla="*/ 1276039 h 4678828"/>
              <a:gd name="connsiteX56" fmla="*/ 259711 w 4671148"/>
              <a:gd name="connsiteY56" fmla="*/ 1276024 h 4678828"/>
              <a:gd name="connsiteX57" fmla="*/ 2335574 w 4671148"/>
              <a:gd name="connsiteY57" fmla="*/ 7680 h 4678828"/>
              <a:gd name="connsiteX58" fmla="*/ 4389257 w 4671148"/>
              <a:gd name="connsiteY58" fmla="*/ 1229981 h 4678828"/>
              <a:gd name="connsiteX59" fmla="*/ 4439266 w 4671148"/>
              <a:gd name="connsiteY59" fmla="*/ 1333793 h 4678828"/>
              <a:gd name="connsiteX60" fmla="*/ 4204258 w 4671148"/>
              <a:gd name="connsiteY60" fmla="*/ 1691515 h 4678828"/>
              <a:gd name="connsiteX61" fmla="*/ 3779224 w 4671148"/>
              <a:gd name="connsiteY61" fmla="*/ 1676462 h 4678828"/>
              <a:gd name="connsiteX62" fmla="*/ 3734995 w 4671148"/>
              <a:gd name="connsiteY62" fmla="*/ 1584647 h 4678828"/>
              <a:gd name="connsiteX63" fmla="*/ 2335574 w 4671148"/>
              <a:gd name="connsiteY63" fmla="*/ 751747 h 4678828"/>
              <a:gd name="connsiteX64" fmla="*/ 2335574 w 4671148"/>
              <a:gd name="connsiteY64"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869136 w 4671148"/>
              <a:gd name="connsiteY15" fmla="*/ 1723768 h 4678828"/>
              <a:gd name="connsiteX16" fmla="*/ 862742 w 4671148"/>
              <a:gd name="connsiteY16" fmla="*/ 1741235 h 4678828"/>
              <a:gd name="connsiteX17" fmla="*/ 869136 w 4671148"/>
              <a:gd name="connsiteY17" fmla="*/ 1723768 h 4678828"/>
              <a:gd name="connsiteX18" fmla="*/ 4496534 w 4671148"/>
              <a:gd name="connsiteY18" fmla="*/ 1458533 h 4678828"/>
              <a:gd name="connsiteX19" fmla="*/ 4566145 w 4671148"/>
              <a:gd name="connsiteY19" fmla="*/ 1648726 h 4678828"/>
              <a:gd name="connsiteX20" fmla="*/ 4671148 w 4671148"/>
              <a:gd name="connsiteY20" fmla="*/ 2343254 h 4678828"/>
              <a:gd name="connsiteX21" fmla="*/ 2335574 w 4671148"/>
              <a:gd name="connsiteY21" fmla="*/ 4678828 h 4678828"/>
              <a:gd name="connsiteX22" fmla="*/ 2312290 w 4671148"/>
              <a:gd name="connsiteY22" fmla="*/ 4677652 h 4678828"/>
              <a:gd name="connsiteX23" fmla="*/ 2100256 w 4671148"/>
              <a:gd name="connsiteY23" fmla="*/ 4300778 h 4678828"/>
              <a:gd name="connsiteX24" fmla="*/ 2306993 w 4671148"/>
              <a:gd name="connsiteY24" fmla="*/ 3933318 h 4678828"/>
              <a:gd name="connsiteX25" fmla="*/ 2335574 w 4671148"/>
              <a:gd name="connsiteY25" fmla="*/ 3934761 h 4678828"/>
              <a:gd name="connsiteX26" fmla="*/ 3927081 w 4671148"/>
              <a:gd name="connsiteY26" fmla="*/ 2343254 h 4678828"/>
              <a:gd name="connsiteX27" fmla="*/ 3855530 w 4671148"/>
              <a:gd name="connsiteY27" fmla="*/ 1869989 h 4678828"/>
              <a:gd name="connsiteX28" fmla="*/ 3818147 w 4671148"/>
              <a:gd name="connsiteY28" fmla="*/ 1767850 h 4678828"/>
              <a:gd name="connsiteX29" fmla="*/ 3832057 w 4671148"/>
              <a:gd name="connsiteY29" fmla="*/ 1794760 h 4678828"/>
              <a:gd name="connsiteX30" fmla="*/ 4265560 w 4671148"/>
              <a:gd name="connsiteY30" fmla="*/ 1810113 h 4678828"/>
              <a:gd name="connsiteX31" fmla="*/ 4496534 w 4671148"/>
              <a:gd name="connsiteY31" fmla="*/ 1458533 h 4678828"/>
              <a:gd name="connsiteX32" fmla="*/ 625183 w 4671148"/>
              <a:gd name="connsiteY32" fmla="*/ 1390736 h 4678828"/>
              <a:gd name="connsiteX33" fmla="*/ 852039 w 4671148"/>
              <a:gd name="connsiteY33" fmla="*/ 1760462 h 4678828"/>
              <a:gd name="connsiteX34" fmla="*/ 862742 w 4671148"/>
              <a:gd name="connsiteY34" fmla="*/ 1741235 h 4678828"/>
              <a:gd name="connsiteX35" fmla="*/ 815618 w 4671148"/>
              <a:gd name="connsiteY35" fmla="*/ 1869989 h 4678828"/>
              <a:gd name="connsiteX36" fmla="*/ 744067 w 4671148"/>
              <a:gd name="connsiteY36" fmla="*/ 2343254 h 4678828"/>
              <a:gd name="connsiteX37" fmla="*/ 2172852 w 4671148"/>
              <a:gd name="connsiteY37" fmla="*/ 3926544 h 4678828"/>
              <a:gd name="connsiteX38" fmla="*/ 2177176 w 4671148"/>
              <a:gd name="connsiteY38" fmla="*/ 3926763 h 4678828"/>
              <a:gd name="connsiteX39" fmla="*/ 1966751 w 4671148"/>
              <a:gd name="connsiteY39" fmla="*/ 4300778 h 4678828"/>
              <a:gd name="connsiteX40" fmla="*/ 2174881 w 4671148"/>
              <a:gd name="connsiteY40" fmla="*/ 4670714 h 4678828"/>
              <a:gd name="connsiteX41" fmla="*/ 2096775 w 4671148"/>
              <a:gd name="connsiteY41" fmla="*/ 4666770 h 4678828"/>
              <a:gd name="connsiteX42" fmla="*/ 0 w 4671148"/>
              <a:gd name="connsiteY42" fmla="*/ 2343254 h 4678828"/>
              <a:gd name="connsiteX43" fmla="*/ 183541 w 4671148"/>
              <a:gd name="connsiteY43" fmla="*/ 1434143 h 4678828"/>
              <a:gd name="connsiteX44" fmla="*/ 203538 w 4671148"/>
              <a:gd name="connsiteY44" fmla="*/ 1392632 h 4678828"/>
              <a:gd name="connsiteX45" fmla="*/ 625183 w 4671148"/>
              <a:gd name="connsiteY45" fmla="*/ 1390736 h 4678828"/>
              <a:gd name="connsiteX46" fmla="*/ 4442430 w 4671148"/>
              <a:gd name="connsiteY46" fmla="*/ 1328976 h 4678828"/>
              <a:gd name="connsiteX47" fmla="*/ 4503733 w 4671148"/>
              <a:gd name="connsiteY47" fmla="*/ 1447574 h 4678828"/>
              <a:gd name="connsiteX48" fmla="*/ 4496534 w 4671148"/>
              <a:gd name="connsiteY48" fmla="*/ 1458533 h 4678828"/>
              <a:gd name="connsiteX49" fmla="*/ 4487607 w 4671148"/>
              <a:gd name="connsiteY49" fmla="*/ 1434143 h 4678828"/>
              <a:gd name="connsiteX50" fmla="*/ 4439266 w 4671148"/>
              <a:gd name="connsiteY50" fmla="*/ 1333793 h 4678828"/>
              <a:gd name="connsiteX51" fmla="*/ 4442430 w 4671148"/>
              <a:gd name="connsiteY51" fmla="*/ 1328976 h 4678828"/>
              <a:gd name="connsiteX52" fmla="*/ 256350 w 4671148"/>
              <a:gd name="connsiteY52" fmla="*/ 1276039 h 4678828"/>
              <a:gd name="connsiteX53" fmla="*/ 203538 w 4671148"/>
              <a:gd name="connsiteY53" fmla="*/ 1392632 h 4678828"/>
              <a:gd name="connsiteX54" fmla="*/ 191412 w 4671148"/>
              <a:gd name="connsiteY54" fmla="*/ 1392686 h 4678828"/>
              <a:gd name="connsiteX55" fmla="*/ 256350 w 4671148"/>
              <a:gd name="connsiteY55" fmla="*/ 1276039 h 4678828"/>
              <a:gd name="connsiteX56" fmla="*/ 2335574 w 4671148"/>
              <a:gd name="connsiteY56" fmla="*/ 7680 h 4678828"/>
              <a:gd name="connsiteX57" fmla="*/ 4389257 w 4671148"/>
              <a:gd name="connsiteY57" fmla="*/ 1229981 h 4678828"/>
              <a:gd name="connsiteX58" fmla="*/ 4439266 w 4671148"/>
              <a:gd name="connsiteY58" fmla="*/ 1333793 h 4678828"/>
              <a:gd name="connsiteX59" fmla="*/ 4204258 w 4671148"/>
              <a:gd name="connsiteY59" fmla="*/ 1691515 h 4678828"/>
              <a:gd name="connsiteX60" fmla="*/ 3779224 w 4671148"/>
              <a:gd name="connsiteY60" fmla="*/ 1676462 h 4678828"/>
              <a:gd name="connsiteX61" fmla="*/ 3734995 w 4671148"/>
              <a:gd name="connsiteY61" fmla="*/ 1584647 h 4678828"/>
              <a:gd name="connsiteX62" fmla="*/ 2335574 w 4671148"/>
              <a:gd name="connsiteY62" fmla="*/ 751747 h 4678828"/>
              <a:gd name="connsiteX63" fmla="*/ 2335574 w 4671148"/>
              <a:gd name="connsiteY63"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869136 w 4671148"/>
              <a:gd name="connsiteY15" fmla="*/ 1723768 h 4678828"/>
              <a:gd name="connsiteX16" fmla="*/ 862742 w 4671148"/>
              <a:gd name="connsiteY16" fmla="*/ 1741235 h 4678828"/>
              <a:gd name="connsiteX17" fmla="*/ 869136 w 4671148"/>
              <a:gd name="connsiteY17" fmla="*/ 1723768 h 4678828"/>
              <a:gd name="connsiteX18" fmla="*/ 4496534 w 4671148"/>
              <a:gd name="connsiteY18" fmla="*/ 1458533 h 4678828"/>
              <a:gd name="connsiteX19" fmla="*/ 4566145 w 4671148"/>
              <a:gd name="connsiteY19" fmla="*/ 1648726 h 4678828"/>
              <a:gd name="connsiteX20" fmla="*/ 4671148 w 4671148"/>
              <a:gd name="connsiteY20" fmla="*/ 2343254 h 4678828"/>
              <a:gd name="connsiteX21" fmla="*/ 2335574 w 4671148"/>
              <a:gd name="connsiteY21" fmla="*/ 4678828 h 4678828"/>
              <a:gd name="connsiteX22" fmla="*/ 2312290 w 4671148"/>
              <a:gd name="connsiteY22" fmla="*/ 4677652 h 4678828"/>
              <a:gd name="connsiteX23" fmla="*/ 2100256 w 4671148"/>
              <a:gd name="connsiteY23" fmla="*/ 4300778 h 4678828"/>
              <a:gd name="connsiteX24" fmla="*/ 2306993 w 4671148"/>
              <a:gd name="connsiteY24" fmla="*/ 3933318 h 4678828"/>
              <a:gd name="connsiteX25" fmla="*/ 2335574 w 4671148"/>
              <a:gd name="connsiteY25" fmla="*/ 3934761 h 4678828"/>
              <a:gd name="connsiteX26" fmla="*/ 3927081 w 4671148"/>
              <a:gd name="connsiteY26" fmla="*/ 2343254 h 4678828"/>
              <a:gd name="connsiteX27" fmla="*/ 3855530 w 4671148"/>
              <a:gd name="connsiteY27" fmla="*/ 1869989 h 4678828"/>
              <a:gd name="connsiteX28" fmla="*/ 3818147 w 4671148"/>
              <a:gd name="connsiteY28" fmla="*/ 1767850 h 4678828"/>
              <a:gd name="connsiteX29" fmla="*/ 3832057 w 4671148"/>
              <a:gd name="connsiteY29" fmla="*/ 1794760 h 4678828"/>
              <a:gd name="connsiteX30" fmla="*/ 4265560 w 4671148"/>
              <a:gd name="connsiteY30" fmla="*/ 1810113 h 4678828"/>
              <a:gd name="connsiteX31" fmla="*/ 4496534 w 4671148"/>
              <a:gd name="connsiteY31" fmla="*/ 1458533 h 4678828"/>
              <a:gd name="connsiteX32" fmla="*/ 625183 w 4671148"/>
              <a:gd name="connsiteY32" fmla="*/ 1390736 h 4678828"/>
              <a:gd name="connsiteX33" fmla="*/ 852039 w 4671148"/>
              <a:gd name="connsiteY33" fmla="*/ 1760462 h 4678828"/>
              <a:gd name="connsiteX34" fmla="*/ 862742 w 4671148"/>
              <a:gd name="connsiteY34" fmla="*/ 1741235 h 4678828"/>
              <a:gd name="connsiteX35" fmla="*/ 815618 w 4671148"/>
              <a:gd name="connsiteY35" fmla="*/ 1869989 h 4678828"/>
              <a:gd name="connsiteX36" fmla="*/ 744067 w 4671148"/>
              <a:gd name="connsiteY36" fmla="*/ 2343254 h 4678828"/>
              <a:gd name="connsiteX37" fmla="*/ 2172852 w 4671148"/>
              <a:gd name="connsiteY37" fmla="*/ 3926544 h 4678828"/>
              <a:gd name="connsiteX38" fmla="*/ 2177176 w 4671148"/>
              <a:gd name="connsiteY38" fmla="*/ 3926763 h 4678828"/>
              <a:gd name="connsiteX39" fmla="*/ 1966751 w 4671148"/>
              <a:gd name="connsiteY39" fmla="*/ 4300778 h 4678828"/>
              <a:gd name="connsiteX40" fmla="*/ 2174881 w 4671148"/>
              <a:gd name="connsiteY40" fmla="*/ 4670714 h 4678828"/>
              <a:gd name="connsiteX41" fmla="*/ 2096775 w 4671148"/>
              <a:gd name="connsiteY41" fmla="*/ 4666770 h 4678828"/>
              <a:gd name="connsiteX42" fmla="*/ 0 w 4671148"/>
              <a:gd name="connsiteY42" fmla="*/ 2343254 h 4678828"/>
              <a:gd name="connsiteX43" fmla="*/ 183541 w 4671148"/>
              <a:gd name="connsiteY43" fmla="*/ 1434143 h 4678828"/>
              <a:gd name="connsiteX44" fmla="*/ 203538 w 4671148"/>
              <a:gd name="connsiteY44" fmla="*/ 1392632 h 4678828"/>
              <a:gd name="connsiteX45" fmla="*/ 625183 w 4671148"/>
              <a:gd name="connsiteY45" fmla="*/ 1390736 h 4678828"/>
              <a:gd name="connsiteX46" fmla="*/ 4442430 w 4671148"/>
              <a:gd name="connsiteY46" fmla="*/ 1328976 h 4678828"/>
              <a:gd name="connsiteX47" fmla="*/ 4503733 w 4671148"/>
              <a:gd name="connsiteY47" fmla="*/ 1447574 h 4678828"/>
              <a:gd name="connsiteX48" fmla="*/ 4496534 w 4671148"/>
              <a:gd name="connsiteY48" fmla="*/ 1458533 h 4678828"/>
              <a:gd name="connsiteX49" fmla="*/ 4487607 w 4671148"/>
              <a:gd name="connsiteY49" fmla="*/ 1434143 h 4678828"/>
              <a:gd name="connsiteX50" fmla="*/ 4439266 w 4671148"/>
              <a:gd name="connsiteY50" fmla="*/ 1333793 h 4678828"/>
              <a:gd name="connsiteX51" fmla="*/ 4442430 w 4671148"/>
              <a:gd name="connsiteY51" fmla="*/ 1328976 h 4678828"/>
              <a:gd name="connsiteX52" fmla="*/ 191412 w 4671148"/>
              <a:gd name="connsiteY52" fmla="*/ 1392686 h 4678828"/>
              <a:gd name="connsiteX53" fmla="*/ 203538 w 4671148"/>
              <a:gd name="connsiteY53" fmla="*/ 1392632 h 4678828"/>
              <a:gd name="connsiteX54" fmla="*/ 191412 w 4671148"/>
              <a:gd name="connsiteY54" fmla="*/ 1392686 h 4678828"/>
              <a:gd name="connsiteX55" fmla="*/ 2335574 w 4671148"/>
              <a:gd name="connsiteY55" fmla="*/ 7680 h 4678828"/>
              <a:gd name="connsiteX56" fmla="*/ 4389257 w 4671148"/>
              <a:gd name="connsiteY56" fmla="*/ 1229981 h 4678828"/>
              <a:gd name="connsiteX57" fmla="*/ 4439266 w 4671148"/>
              <a:gd name="connsiteY57" fmla="*/ 1333793 h 4678828"/>
              <a:gd name="connsiteX58" fmla="*/ 4204258 w 4671148"/>
              <a:gd name="connsiteY58" fmla="*/ 1691515 h 4678828"/>
              <a:gd name="connsiteX59" fmla="*/ 3779224 w 4671148"/>
              <a:gd name="connsiteY59" fmla="*/ 1676462 h 4678828"/>
              <a:gd name="connsiteX60" fmla="*/ 3734995 w 4671148"/>
              <a:gd name="connsiteY60" fmla="*/ 1584647 h 4678828"/>
              <a:gd name="connsiteX61" fmla="*/ 2335574 w 4671148"/>
              <a:gd name="connsiteY61" fmla="*/ 751747 h 4678828"/>
              <a:gd name="connsiteX62" fmla="*/ 2335574 w 4671148"/>
              <a:gd name="connsiteY62"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4496534 w 4671148"/>
              <a:gd name="connsiteY15" fmla="*/ 1458533 h 4678828"/>
              <a:gd name="connsiteX16" fmla="*/ 4566145 w 4671148"/>
              <a:gd name="connsiteY16" fmla="*/ 1648726 h 4678828"/>
              <a:gd name="connsiteX17" fmla="*/ 4671148 w 4671148"/>
              <a:gd name="connsiteY17" fmla="*/ 2343254 h 4678828"/>
              <a:gd name="connsiteX18" fmla="*/ 2335574 w 4671148"/>
              <a:gd name="connsiteY18" fmla="*/ 4678828 h 4678828"/>
              <a:gd name="connsiteX19" fmla="*/ 2312290 w 4671148"/>
              <a:gd name="connsiteY19" fmla="*/ 4677652 h 4678828"/>
              <a:gd name="connsiteX20" fmla="*/ 2100256 w 4671148"/>
              <a:gd name="connsiteY20" fmla="*/ 4300778 h 4678828"/>
              <a:gd name="connsiteX21" fmla="*/ 2306993 w 4671148"/>
              <a:gd name="connsiteY21" fmla="*/ 3933318 h 4678828"/>
              <a:gd name="connsiteX22" fmla="*/ 2335574 w 4671148"/>
              <a:gd name="connsiteY22" fmla="*/ 3934761 h 4678828"/>
              <a:gd name="connsiteX23" fmla="*/ 3927081 w 4671148"/>
              <a:gd name="connsiteY23" fmla="*/ 2343254 h 4678828"/>
              <a:gd name="connsiteX24" fmla="*/ 3855530 w 4671148"/>
              <a:gd name="connsiteY24" fmla="*/ 1869989 h 4678828"/>
              <a:gd name="connsiteX25" fmla="*/ 3818147 w 4671148"/>
              <a:gd name="connsiteY25" fmla="*/ 1767850 h 4678828"/>
              <a:gd name="connsiteX26" fmla="*/ 3832057 w 4671148"/>
              <a:gd name="connsiteY26" fmla="*/ 1794760 h 4678828"/>
              <a:gd name="connsiteX27" fmla="*/ 4265560 w 4671148"/>
              <a:gd name="connsiteY27" fmla="*/ 1810113 h 4678828"/>
              <a:gd name="connsiteX28" fmla="*/ 4496534 w 4671148"/>
              <a:gd name="connsiteY28" fmla="*/ 1458533 h 4678828"/>
              <a:gd name="connsiteX29" fmla="*/ 625183 w 4671148"/>
              <a:gd name="connsiteY29" fmla="*/ 1390736 h 4678828"/>
              <a:gd name="connsiteX30" fmla="*/ 852039 w 4671148"/>
              <a:gd name="connsiteY30" fmla="*/ 1760462 h 4678828"/>
              <a:gd name="connsiteX31" fmla="*/ 862742 w 4671148"/>
              <a:gd name="connsiteY31" fmla="*/ 1741235 h 4678828"/>
              <a:gd name="connsiteX32" fmla="*/ 815618 w 4671148"/>
              <a:gd name="connsiteY32" fmla="*/ 1869989 h 4678828"/>
              <a:gd name="connsiteX33" fmla="*/ 744067 w 4671148"/>
              <a:gd name="connsiteY33" fmla="*/ 2343254 h 4678828"/>
              <a:gd name="connsiteX34" fmla="*/ 2172852 w 4671148"/>
              <a:gd name="connsiteY34" fmla="*/ 3926544 h 4678828"/>
              <a:gd name="connsiteX35" fmla="*/ 2177176 w 4671148"/>
              <a:gd name="connsiteY35" fmla="*/ 3926763 h 4678828"/>
              <a:gd name="connsiteX36" fmla="*/ 1966751 w 4671148"/>
              <a:gd name="connsiteY36" fmla="*/ 4300778 h 4678828"/>
              <a:gd name="connsiteX37" fmla="*/ 2174881 w 4671148"/>
              <a:gd name="connsiteY37" fmla="*/ 4670714 h 4678828"/>
              <a:gd name="connsiteX38" fmla="*/ 2096775 w 4671148"/>
              <a:gd name="connsiteY38" fmla="*/ 4666770 h 4678828"/>
              <a:gd name="connsiteX39" fmla="*/ 0 w 4671148"/>
              <a:gd name="connsiteY39" fmla="*/ 2343254 h 4678828"/>
              <a:gd name="connsiteX40" fmla="*/ 183541 w 4671148"/>
              <a:gd name="connsiteY40" fmla="*/ 1434143 h 4678828"/>
              <a:gd name="connsiteX41" fmla="*/ 203538 w 4671148"/>
              <a:gd name="connsiteY41" fmla="*/ 1392632 h 4678828"/>
              <a:gd name="connsiteX42" fmla="*/ 625183 w 4671148"/>
              <a:gd name="connsiteY42" fmla="*/ 1390736 h 4678828"/>
              <a:gd name="connsiteX43" fmla="*/ 4442430 w 4671148"/>
              <a:gd name="connsiteY43" fmla="*/ 1328976 h 4678828"/>
              <a:gd name="connsiteX44" fmla="*/ 4503733 w 4671148"/>
              <a:gd name="connsiteY44" fmla="*/ 1447574 h 4678828"/>
              <a:gd name="connsiteX45" fmla="*/ 4496534 w 4671148"/>
              <a:gd name="connsiteY45" fmla="*/ 1458533 h 4678828"/>
              <a:gd name="connsiteX46" fmla="*/ 4487607 w 4671148"/>
              <a:gd name="connsiteY46" fmla="*/ 1434143 h 4678828"/>
              <a:gd name="connsiteX47" fmla="*/ 4439266 w 4671148"/>
              <a:gd name="connsiteY47" fmla="*/ 1333793 h 4678828"/>
              <a:gd name="connsiteX48" fmla="*/ 4442430 w 4671148"/>
              <a:gd name="connsiteY48" fmla="*/ 1328976 h 4678828"/>
              <a:gd name="connsiteX49" fmla="*/ 191412 w 4671148"/>
              <a:gd name="connsiteY49" fmla="*/ 1392686 h 4678828"/>
              <a:gd name="connsiteX50" fmla="*/ 203538 w 4671148"/>
              <a:gd name="connsiteY50" fmla="*/ 1392632 h 4678828"/>
              <a:gd name="connsiteX51" fmla="*/ 191412 w 4671148"/>
              <a:gd name="connsiteY51" fmla="*/ 1392686 h 4678828"/>
              <a:gd name="connsiteX52" fmla="*/ 2335574 w 4671148"/>
              <a:gd name="connsiteY52" fmla="*/ 7680 h 4678828"/>
              <a:gd name="connsiteX53" fmla="*/ 4389257 w 4671148"/>
              <a:gd name="connsiteY53" fmla="*/ 1229981 h 4678828"/>
              <a:gd name="connsiteX54" fmla="*/ 4439266 w 4671148"/>
              <a:gd name="connsiteY54" fmla="*/ 1333793 h 4678828"/>
              <a:gd name="connsiteX55" fmla="*/ 4204258 w 4671148"/>
              <a:gd name="connsiteY55" fmla="*/ 1691515 h 4678828"/>
              <a:gd name="connsiteX56" fmla="*/ 3779224 w 4671148"/>
              <a:gd name="connsiteY56" fmla="*/ 1676462 h 4678828"/>
              <a:gd name="connsiteX57" fmla="*/ 3734995 w 4671148"/>
              <a:gd name="connsiteY57" fmla="*/ 1584647 h 4678828"/>
              <a:gd name="connsiteX58" fmla="*/ 2335574 w 4671148"/>
              <a:gd name="connsiteY58" fmla="*/ 751747 h 4678828"/>
              <a:gd name="connsiteX59" fmla="*/ 2335574 w 4671148"/>
              <a:gd name="connsiteY59"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4496534 w 4671148"/>
              <a:gd name="connsiteY15" fmla="*/ 1458533 h 4678828"/>
              <a:gd name="connsiteX16" fmla="*/ 4566145 w 4671148"/>
              <a:gd name="connsiteY16" fmla="*/ 1648726 h 4678828"/>
              <a:gd name="connsiteX17" fmla="*/ 4671148 w 4671148"/>
              <a:gd name="connsiteY17" fmla="*/ 2343254 h 4678828"/>
              <a:gd name="connsiteX18" fmla="*/ 2335574 w 4671148"/>
              <a:gd name="connsiteY18" fmla="*/ 4678828 h 4678828"/>
              <a:gd name="connsiteX19" fmla="*/ 2312290 w 4671148"/>
              <a:gd name="connsiteY19" fmla="*/ 4677652 h 4678828"/>
              <a:gd name="connsiteX20" fmla="*/ 2100256 w 4671148"/>
              <a:gd name="connsiteY20" fmla="*/ 4300778 h 4678828"/>
              <a:gd name="connsiteX21" fmla="*/ 2306993 w 4671148"/>
              <a:gd name="connsiteY21" fmla="*/ 3933318 h 4678828"/>
              <a:gd name="connsiteX22" fmla="*/ 2335574 w 4671148"/>
              <a:gd name="connsiteY22" fmla="*/ 3934761 h 4678828"/>
              <a:gd name="connsiteX23" fmla="*/ 3927081 w 4671148"/>
              <a:gd name="connsiteY23" fmla="*/ 2343254 h 4678828"/>
              <a:gd name="connsiteX24" fmla="*/ 3855530 w 4671148"/>
              <a:gd name="connsiteY24" fmla="*/ 1869989 h 4678828"/>
              <a:gd name="connsiteX25" fmla="*/ 3818147 w 4671148"/>
              <a:gd name="connsiteY25" fmla="*/ 1767850 h 4678828"/>
              <a:gd name="connsiteX26" fmla="*/ 3832057 w 4671148"/>
              <a:gd name="connsiteY26" fmla="*/ 1794760 h 4678828"/>
              <a:gd name="connsiteX27" fmla="*/ 4265560 w 4671148"/>
              <a:gd name="connsiteY27" fmla="*/ 1810113 h 4678828"/>
              <a:gd name="connsiteX28" fmla="*/ 4496534 w 4671148"/>
              <a:gd name="connsiteY28" fmla="*/ 1458533 h 4678828"/>
              <a:gd name="connsiteX29" fmla="*/ 625183 w 4671148"/>
              <a:gd name="connsiteY29" fmla="*/ 1390736 h 4678828"/>
              <a:gd name="connsiteX30" fmla="*/ 852039 w 4671148"/>
              <a:gd name="connsiteY30" fmla="*/ 1760462 h 4678828"/>
              <a:gd name="connsiteX31" fmla="*/ 815618 w 4671148"/>
              <a:gd name="connsiteY31" fmla="*/ 1869989 h 4678828"/>
              <a:gd name="connsiteX32" fmla="*/ 744067 w 4671148"/>
              <a:gd name="connsiteY32" fmla="*/ 2343254 h 4678828"/>
              <a:gd name="connsiteX33" fmla="*/ 2172852 w 4671148"/>
              <a:gd name="connsiteY33" fmla="*/ 3926544 h 4678828"/>
              <a:gd name="connsiteX34" fmla="*/ 2177176 w 4671148"/>
              <a:gd name="connsiteY34" fmla="*/ 3926763 h 4678828"/>
              <a:gd name="connsiteX35" fmla="*/ 1966751 w 4671148"/>
              <a:gd name="connsiteY35" fmla="*/ 4300778 h 4678828"/>
              <a:gd name="connsiteX36" fmla="*/ 2174881 w 4671148"/>
              <a:gd name="connsiteY36" fmla="*/ 4670714 h 4678828"/>
              <a:gd name="connsiteX37" fmla="*/ 2096775 w 4671148"/>
              <a:gd name="connsiteY37" fmla="*/ 4666770 h 4678828"/>
              <a:gd name="connsiteX38" fmla="*/ 0 w 4671148"/>
              <a:gd name="connsiteY38" fmla="*/ 2343254 h 4678828"/>
              <a:gd name="connsiteX39" fmla="*/ 183541 w 4671148"/>
              <a:gd name="connsiteY39" fmla="*/ 1434143 h 4678828"/>
              <a:gd name="connsiteX40" fmla="*/ 203538 w 4671148"/>
              <a:gd name="connsiteY40" fmla="*/ 1392632 h 4678828"/>
              <a:gd name="connsiteX41" fmla="*/ 625183 w 4671148"/>
              <a:gd name="connsiteY41" fmla="*/ 1390736 h 4678828"/>
              <a:gd name="connsiteX42" fmla="*/ 4442430 w 4671148"/>
              <a:gd name="connsiteY42" fmla="*/ 1328976 h 4678828"/>
              <a:gd name="connsiteX43" fmla="*/ 4503733 w 4671148"/>
              <a:gd name="connsiteY43" fmla="*/ 1447574 h 4678828"/>
              <a:gd name="connsiteX44" fmla="*/ 4496534 w 4671148"/>
              <a:gd name="connsiteY44" fmla="*/ 1458533 h 4678828"/>
              <a:gd name="connsiteX45" fmla="*/ 4487607 w 4671148"/>
              <a:gd name="connsiteY45" fmla="*/ 1434143 h 4678828"/>
              <a:gd name="connsiteX46" fmla="*/ 4439266 w 4671148"/>
              <a:gd name="connsiteY46" fmla="*/ 1333793 h 4678828"/>
              <a:gd name="connsiteX47" fmla="*/ 4442430 w 4671148"/>
              <a:gd name="connsiteY47" fmla="*/ 1328976 h 4678828"/>
              <a:gd name="connsiteX48" fmla="*/ 191412 w 4671148"/>
              <a:gd name="connsiteY48" fmla="*/ 1392686 h 4678828"/>
              <a:gd name="connsiteX49" fmla="*/ 203538 w 4671148"/>
              <a:gd name="connsiteY49" fmla="*/ 1392632 h 4678828"/>
              <a:gd name="connsiteX50" fmla="*/ 191412 w 4671148"/>
              <a:gd name="connsiteY50" fmla="*/ 1392686 h 4678828"/>
              <a:gd name="connsiteX51" fmla="*/ 2335574 w 4671148"/>
              <a:gd name="connsiteY51" fmla="*/ 7680 h 4678828"/>
              <a:gd name="connsiteX52" fmla="*/ 4389257 w 4671148"/>
              <a:gd name="connsiteY52" fmla="*/ 1229981 h 4678828"/>
              <a:gd name="connsiteX53" fmla="*/ 4439266 w 4671148"/>
              <a:gd name="connsiteY53" fmla="*/ 1333793 h 4678828"/>
              <a:gd name="connsiteX54" fmla="*/ 4204258 w 4671148"/>
              <a:gd name="connsiteY54" fmla="*/ 1691515 h 4678828"/>
              <a:gd name="connsiteX55" fmla="*/ 3779224 w 4671148"/>
              <a:gd name="connsiteY55" fmla="*/ 1676462 h 4678828"/>
              <a:gd name="connsiteX56" fmla="*/ 3734995 w 4671148"/>
              <a:gd name="connsiteY56" fmla="*/ 1584647 h 4678828"/>
              <a:gd name="connsiteX57" fmla="*/ 2335574 w 4671148"/>
              <a:gd name="connsiteY57" fmla="*/ 751747 h 4678828"/>
              <a:gd name="connsiteX58" fmla="*/ 2335574 w 4671148"/>
              <a:gd name="connsiteY58" fmla="*/ 7680 h 4678828"/>
              <a:gd name="connsiteX0" fmla="*/ 2174881 w 4671148"/>
              <a:gd name="connsiteY0" fmla="*/ 4670714 h 4678828"/>
              <a:gd name="connsiteX1" fmla="*/ 2312290 w 4671148"/>
              <a:gd name="connsiteY1" fmla="*/ 4677652 h 4678828"/>
              <a:gd name="connsiteX2" fmla="*/ 2312951 w 4671148"/>
              <a:gd name="connsiteY2" fmla="*/ 4678828 h 4678828"/>
              <a:gd name="connsiteX3" fmla="*/ 2179446 w 4671148"/>
              <a:gd name="connsiteY3" fmla="*/ 4678828 h 4678828"/>
              <a:gd name="connsiteX4" fmla="*/ 2174881 w 4671148"/>
              <a:gd name="connsiteY4" fmla="*/ 4670714 h 4678828"/>
              <a:gd name="connsiteX5" fmla="*/ 2179446 w 4671148"/>
              <a:gd name="connsiteY5" fmla="*/ 3922728 h 4678828"/>
              <a:gd name="connsiteX6" fmla="*/ 2312951 w 4671148"/>
              <a:gd name="connsiteY6" fmla="*/ 3922728 h 4678828"/>
              <a:gd name="connsiteX7" fmla="*/ 2306993 w 4671148"/>
              <a:gd name="connsiteY7" fmla="*/ 3933318 h 4678828"/>
              <a:gd name="connsiteX8" fmla="*/ 2177176 w 4671148"/>
              <a:gd name="connsiteY8" fmla="*/ 3926763 h 4678828"/>
              <a:gd name="connsiteX9" fmla="*/ 2179446 w 4671148"/>
              <a:gd name="connsiteY9" fmla="*/ 3922728 h 4678828"/>
              <a:gd name="connsiteX10" fmla="*/ 3770754 w 4671148"/>
              <a:gd name="connsiteY10" fmla="*/ 1676162 h 4678828"/>
              <a:gd name="connsiteX11" fmla="*/ 3779224 w 4671148"/>
              <a:gd name="connsiteY11" fmla="*/ 1676462 h 4678828"/>
              <a:gd name="connsiteX12" fmla="*/ 3802013 w 4671148"/>
              <a:gd name="connsiteY12" fmla="*/ 1723768 h 4678828"/>
              <a:gd name="connsiteX13" fmla="*/ 3818147 w 4671148"/>
              <a:gd name="connsiteY13" fmla="*/ 1767850 h 4678828"/>
              <a:gd name="connsiteX14" fmla="*/ 3770754 w 4671148"/>
              <a:gd name="connsiteY14" fmla="*/ 1676162 h 4678828"/>
              <a:gd name="connsiteX15" fmla="*/ 4496534 w 4671148"/>
              <a:gd name="connsiteY15" fmla="*/ 1458533 h 4678828"/>
              <a:gd name="connsiteX16" fmla="*/ 4566145 w 4671148"/>
              <a:gd name="connsiteY16" fmla="*/ 1648726 h 4678828"/>
              <a:gd name="connsiteX17" fmla="*/ 4671148 w 4671148"/>
              <a:gd name="connsiteY17" fmla="*/ 2343254 h 4678828"/>
              <a:gd name="connsiteX18" fmla="*/ 2335574 w 4671148"/>
              <a:gd name="connsiteY18" fmla="*/ 4678828 h 4678828"/>
              <a:gd name="connsiteX19" fmla="*/ 2312290 w 4671148"/>
              <a:gd name="connsiteY19" fmla="*/ 4677652 h 4678828"/>
              <a:gd name="connsiteX20" fmla="*/ 2100256 w 4671148"/>
              <a:gd name="connsiteY20" fmla="*/ 4300778 h 4678828"/>
              <a:gd name="connsiteX21" fmla="*/ 2306993 w 4671148"/>
              <a:gd name="connsiteY21" fmla="*/ 3933318 h 4678828"/>
              <a:gd name="connsiteX22" fmla="*/ 2335574 w 4671148"/>
              <a:gd name="connsiteY22" fmla="*/ 3934761 h 4678828"/>
              <a:gd name="connsiteX23" fmla="*/ 3927081 w 4671148"/>
              <a:gd name="connsiteY23" fmla="*/ 2343254 h 4678828"/>
              <a:gd name="connsiteX24" fmla="*/ 3855530 w 4671148"/>
              <a:gd name="connsiteY24" fmla="*/ 1869989 h 4678828"/>
              <a:gd name="connsiteX25" fmla="*/ 3818147 w 4671148"/>
              <a:gd name="connsiteY25" fmla="*/ 1767850 h 4678828"/>
              <a:gd name="connsiteX26" fmla="*/ 3832057 w 4671148"/>
              <a:gd name="connsiteY26" fmla="*/ 1794760 h 4678828"/>
              <a:gd name="connsiteX27" fmla="*/ 4265560 w 4671148"/>
              <a:gd name="connsiteY27" fmla="*/ 1810113 h 4678828"/>
              <a:gd name="connsiteX28" fmla="*/ 4496534 w 4671148"/>
              <a:gd name="connsiteY28" fmla="*/ 1458533 h 4678828"/>
              <a:gd name="connsiteX29" fmla="*/ 625183 w 4671148"/>
              <a:gd name="connsiteY29" fmla="*/ 1390736 h 4678828"/>
              <a:gd name="connsiteX30" fmla="*/ 852039 w 4671148"/>
              <a:gd name="connsiteY30" fmla="*/ 1760462 h 4678828"/>
              <a:gd name="connsiteX31" fmla="*/ 815618 w 4671148"/>
              <a:gd name="connsiteY31" fmla="*/ 1869989 h 4678828"/>
              <a:gd name="connsiteX32" fmla="*/ 744067 w 4671148"/>
              <a:gd name="connsiteY32" fmla="*/ 2343254 h 4678828"/>
              <a:gd name="connsiteX33" fmla="*/ 2172852 w 4671148"/>
              <a:gd name="connsiteY33" fmla="*/ 3926544 h 4678828"/>
              <a:gd name="connsiteX34" fmla="*/ 2177176 w 4671148"/>
              <a:gd name="connsiteY34" fmla="*/ 3926763 h 4678828"/>
              <a:gd name="connsiteX35" fmla="*/ 1966751 w 4671148"/>
              <a:gd name="connsiteY35" fmla="*/ 4300778 h 4678828"/>
              <a:gd name="connsiteX36" fmla="*/ 2174881 w 4671148"/>
              <a:gd name="connsiteY36" fmla="*/ 4670714 h 4678828"/>
              <a:gd name="connsiteX37" fmla="*/ 2096775 w 4671148"/>
              <a:gd name="connsiteY37" fmla="*/ 4666770 h 4678828"/>
              <a:gd name="connsiteX38" fmla="*/ 0 w 4671148"/>
              <a:gd name="connsiteY38" fmla="*/ 2343254 h 4678828"/>
              <a:gd name="connsiteX39" fmla="*/ 183541 w 4671148"/>
              <a:gd name="connsiteY39" fmla="*/ 1434143 h 4678828"/>
              <a:gd name="connsiteX40" fmla="*/ 203538 w 4671148"/>
              <a:gd name="connsiteY40" fmla="*/ 1392632 h 4678828"/>
              <a:gd name="connsiteX41" fmla="*/ 625183 w 4671148"/>
              <a:gd name="connsiteY41" fmla="*/ 1390736 h 4678828"/>
              <a:gd name="connsiteX42" fmla="*/ 4442430 w 4671148"/>
              <a:gd name="connsiteY42" fmla="*/ 1328976 h 4678828"/>
              <a:gd name="connsiteX43" fmla="*/ 4503733 w 4671148"/>
              <a:gd name="connsiteY43" fmla="*/ 1447574 h 4678828"/>
              <a:gd name="connsiteX44" fmla="*/ 4496534 w 4671148"/>
              <a:gd name="connsiteY44" fmla="*/ 1458533 h 4678828"/>
              <a:gd name="connsiteX45" fmla="*/ 4487607 w 4671148"/>
              <a:gd name="connsiteY45" fmla="*/ 1434143 h 4678828"/>
              <a:gd name="connsiteX46" fmla="*/ 4439266 w 4671148"/>
              <a:gd name="connsiteY46" fmla="*/ 1333793 h 4678828"/>
              <a:gd name="connsiteX47" fmla="*/ 4442430 w 4671148"/>
              <a:gd name="connsiteY47" fmla="*/ 1328976 h 4678828"/>
              <a:gd name="connsiteX48" fmla="*/ 2335574 w 4671148"/>
              <a:gd name="connsiteY48" fmla="*/ 7680 h 4678828"/>
              <a:gd name="connsiteX49" fmla="*/ 4389257 w 4671148"/>
              <a:gd name="connsiteY49" fmla="*/ 1229981 h 4678828"/>
              <a:gd name="connsiteX50" fmla="*/ 4439266 w 4671148"/>
              <a:gd name="connsiteY50" fmla="*/ 1333793 h 4678828"/>
              <a:gd name="connsiteX51" fmla="*/ 4204258 w 4671148"/>
              <a:gd name="connsiteY51" fmla="*/ 1691515 h 4678828"/>
              <a:gd name="connsiteX52" fmla="*/ 3779224 w 4671148"/>
              <a:gd name="connsiteY52" fmla="*/ 1676462 h 4678828"/>
              <a:gd name="connsiteX53" fmla="*/ 3734995 w 4671148"/>
              <a:gd name="connsiteY53" fmla="*/ 1584647 h 4678828"/>
              <a:gd name="connsiteX54" fmla="*/ 2335574 w 4671148"/>
              <a:gd name="connsiteY54" fmla="*/ 751747 h 4678828"/>
              <a:gd name="connsiteX55" fmla="*/ 2335574 w 4671148"/>
              <a:gd name="connsiteY55" fmla="*/ 7680 h 4678828"/>
              <a:gd name="connsiteX0" fmla="*/ 2174881 w 4671148"/>
              <a:gd name="connsiteY0" fmla="*/ 3924404 h 3932518"/>
              <a:gd name="connsiteX1" fmla="*/ 2312290 w 4671148"/>
              <a:gd name="connsiteY1" fmla="*/ 3931342 h 3932518"/>
              <a:gd name="connsiteX2" fmla="*/ 2312951 w 4671148"/>
              <a:gd name="connsiteY2" fmla="*/ 3932518 h 3932518"/>
              <a:gd name="connsiteX3" fmla="*/ 2179446 w 4671148"/>
              <a:gd name="connsiteY3" fmla="*/ 3932518 h 3932518"/>
              <a:gd name="connsiteX4" fmla="*/ 2174881 w 4671148"/>
              <a:gd name="connsiteY4" fmla="*/ 3924404 h 3932518"/>
              <a:gd name="connsiteX5" fmla="*/ 2179446 w 4671148"/>
              <a:gd name="connsiteY5" fmla="*/ 3176418 h 3932518"/>
              <a:gd name="connsiteX6" fmla="*/ 2312951 w 4671148"/>
              <a:gd name="connsiteY6" fmla="*/ 3176418 h 3932518"/>
              <a:gd name="connsiteX7" fmla="*/ 2306993 w 4671148"/>
              <a:gd name="connsiteY7" fmla="*/ 3187008 h 3932518"/>
              <a:gd name="connsiteX8" fmla="*/ 2177176 w 4671148"/>
              <a:gd name="connsiteY8" fmla="*/ 3180453 h 3932518"/>
              <a:gd name="connsiteX9" fmla="*/ 2179446 w 4671148"/>
              <a:gd name="connsiteY9" fmla="*/ 3176418 h 3932518"/>
              <a:gd name="connsiteX10" fmla="*/ 3770754 w 4671148"/>
              <a:gd name="connsiteY10" fmla="*/ 929852 h 3932518"/>
              <a:gd name="connsiteX11" fmla="*/ 3779224 w 4671148"/>
              <a:gd name="connsiteY11" fmla="*/ 930152 h 3932518"/>
              <a:gd name="connsiteX12" fmla="*/ 3802013 w 4671148"/>
              <a:gd name="connsiteY12" fmla="*/ 977458 h 3932518"/>
              <a:gd name="connsiteX13" fmla="*/ 3818147 w 4671148"/>
              <a:gd name="connsiteY13" fmla="*/ 1021540 h 3932518"/>
              <a:gd name="connsiteX14" fmla="*/ 3770754 w 4671148"/>
              <a:gd name="connsiteY14" fmla="*/ 929852 h 3932518"/>
              <a:gd name="connsiteX15" fmla="*/ 4496534 w 4671148"/>
              <a:gd name="connsiteY15" fmla="*/ 712223 h 3932518"/>
              <a:gd name="connsiteX16" fmla="*/ 4566145 w 4671148"/>
              <a:gd name="connsiteY16" fmla="*/ 902416 h 3932518"/>
              <a:gd name="connsiteX17" fmla="*/ 4671148 w 4671148"/>
              <a:gd name="connsiteY17" fmla="*/ 1596944 h 3932518"/>
              <a:gd name="connsiteX18" fmla="*/ 2335574 w 4671148"/>
              <a:gd name="connsiteY18" fmla="*/ 3932518 h 3932518"/>
              <a:gd name="connsiteX19" fmla="*/ 2312290 w 4671148"/>
              <a:gd name="connsiteY19" fmla="*/ 3931342 h 3932518"/>
              <a:gd name="connsiteX20" fmla="*/ 2100256 w 4671148"/>
              <a:gd name="connsiteY20" fmla="*/ 3554468 h 3932518"/>
              <a:gd name="connsiteX21" fmla="*/ 2306993 w 4671148"/>
              <a:gd name="connsiteY21" fmla="*/ 3187008 h 3932518"/>
              <a:gd name="connsiteX22" fmla="*/ 2335574 w 4671148"/>
              <a:gd name="connsiteY22" fmla="*/ 3188451 h 3932518"/>
              <a:gd name="connsiteX23" fmla="*/ 3927081 w 4671148"/>
              <a:gd name="connsiteY23" fmla="*/ 1596944 h 3932518"/>
              <a:gd name="connsiteX24" fmla="*/ 3855530 w 4671148"/>
              <a:gd name="connsiteY24" fmla="*/ 1123679 h 3932518"/>
              <a:gd name="connsiteX25" fmla="*/ 3818147 w 4671148"/>
              <a:gd name="connsiteY25" fmla="*/ 1021540 h 3932518"/>
              <a:gd name="connsiteX26" fmla="*/ 3832057 w 4671148"/>
              <a:gd name="connsiteY26" fmla="*/ 1048450 h 3932518"/>
              <a:gd name="connsiteX27" fmla="*/ 4265560 w 4671148"/>
              <a:gd name="connsiteY27" fmla="*/ 1063803 h 3932518"/>
              <a:gd name="connsiteX28" fmla="*/ 4496534 w 4671148"/>
              <a:gd name="connsiteY28" fmla="*/ 712223 h 3932518"/>
              <a:gd name="connsiteX29" fmla="*/ 625183 w 4671148"/>
              <a:gd name="connsiteY29" fmla="*/ 644426 h 3932518"/>
              <a:gd name="connsiteX30" fmla="*/ 852039 w 4671148"/>
              <a:gd name="connsiteY30" fmla="*/ 1014152 h 3932518"/>
              <a:gd name="connsiteX31" fmla="*/ 815618 w 4671148"/>
              <a:gd name="connsiteY31" fmla="*/ 1123679 h 3932518"/>
              <a:gd name="connsiteX32" fmla="*/ 744067 w 4671148"/>
              <a:gd name="connsiteY32" fmla="*/ 1596944 h 3932518"/>
              <a:gd name="connsiteX33" fmla="*/ 2172852 w 4671148"/>
              <a:gd name="connsiteY33" fmla="*/ 3180234 h 3932518"/>
              <a:gd name="connsiteX34" fmla="*/ 2177176 w 4671148"/>
              <a:gd name="connsiteY34" fmla="*/ 3180453 h 3932518"/>
              <a:gd name="connsiteX35" fmla="*/ 1966751 w 4671148"/>
              <a:gd name="connsiteY35" fmla="*/ 3554468 h 3932518"/>
              <a:gd name="connsiteX36" fmla="*/ 2174881 w 4671148"/>
              <a:gd name="connsiteY36" fmla="*/ 3924404 h 3932518"/>
              <a:gd name="connsiteX37" fmla="*/ 2096775 w 4671148"/>
              <a:gd name="connsiteY37" fmla="*/ 3920460 h 3932518"/>
              <a:gd name="connsiteX38" fmla="*/ 0 w 4671148"/>
              <a:gd name="connsiteY38" fmla="*/ 1596944 h 3932518"/>
              <a:gd name="connsiteX39" fmla="*/ 183541 w 4671148"/>
              <a:gd name="connsiteY39" fmla="*/ 687833 h 3932518"/>
              <a:gd name="connsiteX40" fmla="*/ 203538 w 4671148"/>
              <a:gd name="connsiteY40" fmla="*/ 646322 h 3932518"/>
              <a:gd name="connsiteX41" fmla="*/ 625183 w 4671148"/>
              <a:gd name="connsiteY41" fmla="*/ 644426 h 3932518"/>
              <a:gd name="connsiteX42" fmla="*/ 4442430 w 4671148"/>
              <a:gd name="connsiteY42" fmla="*/ 582666 h 3932518"/>
              <a:gd name="connsiteX43" fmla="*/ 4503733 w 4671148"/>
              <a:gd name="connsiteY43" fmla="*/ 701264 h 3932518"/>
              <a:gd name="connsiteX44" fmla="*/ 4496534 w 4671148"/>
              <a:gd name="connsiteY44" fmla="*/ 712223 h 3932518"/>
              <a:gd name="connsiteX45" fmla="*/ 4487607 w 4671148"/>
              <a:gd name="connsiteY45" fmla="*/ 687833 h 3932518"/>
              <a:gd name="connsiteX46" fmla="*/ 4439266 w 4671148"/>
              <a:gd name="connsiteY46" fmla="*/ 587483 h 3932518"/>
              <a:gd name="connsiteX47" fmla="*/ 4442430 w 4671148"/>
              <a:gd name="connsiteY47" fmla="*/ 582666 h 3932518"/>
              <a:gd name="connsiteX48" fmla="*/ 2335574 w 4671148"/>
              <a:gd name="connsiteY48" fmla="*/ 5437 h 3932518"/>
              <a:gd name="connsiteX49" fmla="*/ 4389257 w 4671148"/>
              <a:gd name="connsiteY49" fmla="*/ 483671 h 3932518"/>
              <a:gd name="connsiteX50" fmla="*/ 4439266 w 4671148"/>
              <a:gd name="connsiteY50" fmla="*/ 587483 h 3932518"/>
              <a:gd name="connsiteX51" fmla="*/ 4204258 w 4671148"/>
              <a:gd name="connsiteY51" fmla="*/ 945205 h 3932518"/>
              <a:gd name="connsiteX52" fmla="*/ 3779224 w 4671148"/>
              <a:gd name="connsiteY52" fmla="*/ 930152 h 3932518"/>
              <a:gd name="connsiteX53" fmla="*/ 3734995 w 4671148"/>
              <a:gd name="connsiteY53" fmla="*/ 838337 h 3932518"/>
              <a:gd name="connsiteX54" fmla="*/ 2335574 w 4671148"/>
              <a:gd name="connsiteY54" fmla="*/ 5437 h 3932518"/>
              <a:gd name="connsiteX0" fmla="*/ 2174881 w 4671148"/>
              <a:gd name="connsiteY0" fmla="*/ 3440733 h 3448847"/>
              <a:gd name="connsiteX1" fmla="*/ 2312290 w 4671148"/>
              <a:gd name="connsiteY1" fmla="*/ 3447671 h 3448847"/>
              <a:gd name="connsiteX2" fmla="*/ 2312951 w 4671148"/>
              <a:gd name="connsiteY2" fmla="*/ 3448847 h 3448847"/>
              <a:gd name="connsiteX3" fmla="*/ 2179446 w 4671148"/>
              <a:gd name="connsiteY3" fmla="*/ 3448847 h 3448847"/>
              <a:gd name="connsiteX4" fmla="*/ 2174881 w 4671148"/>
              <a:gd name="connsiteY4" fmla="*/ 3440733 h 3448847"/>
              <a:gd name="connsiteX5" fmla="*/ 2179446 w 4671148"/>
              <a:gd name="connsiteY5" fmla="*/ 2692747 h 3448847"/>
              <a:gd name="connsiteX6" fmla="*/ 2312951 w 4671148"/>
              <a:gd name="connsiteY6" fmla="*/ 2692747 h 3448847"/>
              <a:gd name="connsiteX7" fmla="*/ 2306993 w 4671148"/>
              <a:gd name="connsiteY7" fmla="*/ 2703337 h 3448847"/>
              <a:gd name="connsiteX8" fmla="*/ 2177176 w 4671148"/>
              <a:gd name="connsiteY8" fmla="*/ 2696782 h 3448847"/>
              <a:gd name="connsiteX9" fmla="*/ 2179446 w 4671148"/>
              <a:gd name="connsiteY9" fmla="*/ 2692747 h 3448847"/>
              <a:gd name="connsiteX10" fmla="*/ 3770754 w 4671148"/>
              <a:gd name="connsiteY10" fmla="*/ 446181 h 3448847"/>
              <a:gd name="connsiteX11" fmla="*/ 3779224 w 4671148"/>
              <a:gd name="connsiteY11" fmla="*/ 446481 h 3448847"/>
              <a:gd name="connsiteX12" fmla="*/ 3802013 w 4671148"/>
              <a:gd name="connsiteY12" fmla="*/ 493787 h 3448847"/>
              <a:gd name="connsiteX13" fmla="*/ 3818147 w 4671148"/>
              <a:gd name="connsiteY13" fmla="*/ 537869 h 3448847"/>
              <a:gd name="connsiteX14" fmla="*/ 3770754 w 4671148"/>
              <a:gd name="connsiteY14" fmla="*/ 446181 h 3448847"/>
              <a:gd name="connsiteX15" fmla="*/ 4496534 w 4671148"/>
              <a:gd name="connsiteY15" fmla="*/ 228552 h 3448847"/>
              <a:gd name="connsiteX16" fmla="*/ 4566145 w 4671148"/>
              <a:gd name="connsiteY16" fmla="*/ 418745 h 3448847"/>
              <a:gd name="connsiteX17" fmla="*/ 4671148 w 4671148"/>
              <a:gd name="connsiteY17" fmla="*/ 1113273 h 3448847"/>
              <a:gd name="connsiteX18" fmla="*/ 2335574 w 4671148"/>
              <a:gd name="connsiteY18" fmla="*/ 3448847 h 3448847"/>
              <a:gd name="connsiteX19" fmla="*/ 2312290 w 4671148"/>
              <a:gd name="connsiteY19" fmla="*/ 3447671 h 3448847"/>
              <a:gd name="connsiteX20" fmla="*/ 2100256 w 4671148"/>
              <a:gd name="connsiteY20" fmla="*/ 3070797 h 3448847"/>
              <a:gd name="connsiteX21" fmla="*/ 2306993 w 4671148"/>
              <a:gd name="connsiteY21" fmla="*/ 2703337 h 3448847"/>
              <a:gd name="connsiteX22" fmla="*/ 2335574 w 4671148"/>
              <a:gd name="connsiteY22" fmla="*/ 2704780 h 3448847"/>
              <a:gd name="connsiteX23" fmla="*/ 3927081 w 4671148"/>
              <a:gd name="connsiteY23" fmla="*/ 1113273 h 3448847"/>
              <a:gd name="connsiteX24" fmla="*/ 3855530 w 4671148"/>
              <a:gd name="connsiteY24" fmla="*/ 640008 h 3448847"/>
              <a:gd name="connsiteX25" fmla="*/ 3818147 w 4671148"/>
              <a:gd name="connsiteY25" fmla="*/ 537869 h 3448847"/>
              <a:gd name="connsiteX26" fmla="*/ 3832057 w 4671148"/>
              <a:gd name="connsiteY26" fmla="*/ 564779 h 3448847"/>
              <a:gd name="connsiteX27" fmla="*/ 4265560 w 4671148"/>
              <a:gd name="connsiteY27" fmla="*/ 580132 h 3448847"/>
              <a:gd name="connsiteX28" fmla="*/ 4496534 w 4671148"/>
              <a:gd name="connsiteY28" fmla="*/ 228552 h 3448847"/>
              <a:gd name="connsiteX29" fmla="*/ 625183 w 4671148"/>
              <a:gd name="connsiteY29" fmla="*/ 160755 h 3448847"/>
              <a:gd name="connsiteX30" fmla="*/ 852039 w 4671148"/>
              <a:gd name="connsiteY30" fmla="*/ 530481 h 3448847"/>
              <a:gd name="connsiteX31" fmla="*/ 815618 w 4671148"/>
              <a:gd name="connsiteY31" fmla="*/ 640008 h 3448847"/>
              <a:gd name="connsiteX32" fmla="*/ 744067 w 4671148"/>
              <a:gd name="connsiteY32" fmla="*/ 1113273 h 3448847"/>
              <a:gd name="connsiteX33" fmla="*/ 2172852 w 4671148"/>
              <a:gd name="connsiteY33" fmla="*/ 2696563 h 3448847"/>
              <a:gd name="connsiteX34" fmla="*/ 2177176 w 4671148"/>
              <a:gd name="connsiteY34" fmla="*/ 2696782 h 3448847"/>
              <a:gd name="connsiteX35" fmla="*/ 1966751 w 4671148"/>
              <a:gd name="connsiteY35" fmla="*/ 3070797 h 3448847"/>
              <a:gd name="connsiteX36" fmla="*/ 2174881 w 4671148"/>
              <a:gd name="connsiteY36" fmla="*/ 3440733 h 3448847"/>
              <a:gd name="connsiteX37" fmla="*/ 2096775 w 4671148"/>
              <a:gd name="connsiteY37" fmla="*/ 3436789 h 3448847"/>
              <a:gd name="connsiteX38" fmla="*/ 0 w 4671148"/>
              <a:gd name="connsiteY38" fmla="*/ 1113273 h 3448847"/>
              <a:gd name="connsiteX39" fmla="*/ 183541 w 4671148"/>
              <a:gd name="connsiteY39" fmla="*/ 204162 h 3448847"/>
              <a:gd name="connsiteX40" fmla="*/ 203538 w 4671148"/>
              <a:gd name="connsiteY40" fmla="*/ 162651 h 3448847"/>
              <a:gd name="connsiteX41" fmla="*/ 625183 w 4671148"/>
              <a:gd name="connsiteY41" fmla="*/ 160755 h 3448847"/>
              <a:gd name="connsiteX42" fmla="*/ 4442430 w 4671148"/>
              <a:gd name="connsiteY42" fmla="*/ 98995 h 3448847"/>
              <a:gd name="connsiteX43" fmla="*/ 4503733 w 4671148"/>
              <a:gd name="connsiteY43" fmla="*/ 217593 h 3448847"/>
              <a:gd name="connsiteX44" fmla="*/ 4496534 w 4671148"/>
              <a:gd name="connsiteY44" fmla="*/ 228552 h 3448847"/>
              <a:gd name="connsiteX45" fmla="*/ 4487607 w 4671148"/>
              <a:gd name="connsiteY45" fmla="*/ 204162 h 3448847"/>
              <a:gd name="connsiteX46" fmla="*/ 4439266 w 4671148"/>
              <a:gd name="connsiteY46" fmla="*/ 103812 h 3448847"/>
              <a:gd name="connsiteX47" fmla="*/ 4442430 w 4671148"/>
              <a:gd name="connsiteY47" fmla="*/ 98995 h 3448847"/>
              <a:gd name="connsiteX48" fmla="*/ 3734995 w 4671148"/>
              <a:gd name="connsiteY48" fmla="*/ 354666 h 3448847"/>
              <a:gd name="connsiteX49" fmla="*/ 4389257 w 4671148"/>
              <a:gd name="connsiteY49" fmla="*/ 0 h 3448847"/>
              <a:gd name="connsiteX50" fmla="*/ 4439266 w 4671148"/>
              <a:gd name="connsiteY50" fmla="*/ 103812 h 3448847"/>
              <a:gd name="connsiteX51" fmla="*/ 4204258 w 4671148"/>
              <a:gd name="connsiteY51" fmla="*/ 461534 h 3448847"/>
              <a:gd name="connsiteX52" fmla="*/ 3779224 w 4671148"/>
              <a:gd name="connsiteY52" fmla="*/ 446481 h 3448847"/>
              <a:gd name="connsiteX53" fmla="*/ 3734995 w 4671148"/>
              <a:gd name="connsiteY53" fmla="*/ 354666 h 3448847"/>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625183 w 4671148"/>
              <a:gd name="connsiteY29" fmla="*/ 61760 h 3349852"/>
              <a:gd name="connsiteX30" fmla="*/ 852039 w 4671148"/>
              <a:gd name="connsiteY30" fmla="*/ 431486 h 3349852"/>
              <a:gd name="connsiteX31" fmla="*/ 815618 w 4671148"/>
              <a:gd name="connsiteY31" fmla="*/ 541013 h 3349852"/>
              <a:gd name="connsiteX32" fmla="*/ 744067 w 4671148"/>
              <a:gd name="connsiteY32" fmla="*/ 1014278 h 3349852"/>
              <a:gd name="connsiteX33" fmla="*/ 2172852 w 4671148"/>
              <a:gd name="connsiteY33" fmla="*/ 2597568 h 3349852"/>
              <a:gd name="connsiteX34" fmla="*/ 2177176 w 4671148"/>
              <a:gd name="connsiteY34" fmla="*/ 2597787 h 3349852"/>
              <a:gd name="connsiteX35" fmla="*/ 1966751 w 4671148"/>
              <a:gd name="connsiteY35" fmla="*/ 2971802 h 3349852"/>
              <a:gd name="connsiteX36" fmla="*/ 2174881 w 4671148"/>
              <a:gd name="connsiteY36" fmla="*/ 3341738 h 3349852"/>
              <a:gd name="connsiteX37" fmla="*/ 2096775 w 4671148"/>
              <a:gd name="connsiteY37" fmla="*/ 3337794 h 3349852"/>
              <a:gd name="connsiteX38" fmla="*/ 0 w 4671148"/>
              <a:gd name="connsiteY38" fmla="*/ 1014278 h 3349852"/>
              <a:gd name="connsiteX39" fmla="*/ 183541 w 4671148"/>
              <a:gd name="connsiteY39" fmla="*/ 105167 h 3349852"/>
              <a:gd name="connsiteX40" fmla="*/ 203538 w 4671148"/>
              <a:gd name="connsiteY40" fmla="*/ 63656 h 3349852"/>
              <a:gd name="connsiteX41" fmla="*/ 625183 w 4671148"/>
              <a:gd name="connsiteY41" fmla="*/ 61760 h 3349852"/>
              <a:gd name="connsiteX42" fmla="*/ 4442430 w 4671148"/>
              <a:gd name="connsiteY42" fmla="*/ 0 h 3349852"/>
              <a:gd name="connsiteX43" fmla="*/ 4503733 w 4671148"/>
              <a:gd name="connsiteY43" fmla="*/ 118598 h 3349852"/>
              <a:gd name="connsiteX44" fmla="*/ 4496534 w 4671148"/>
              <a:gd name="connsiteY44" fmla="*/ 129557 h 3349852"/>
              <a:gd name="connsiteX45" fmla="*/ 4487607 w 4671148"/>
              <a:gd name="connsiteY45" fmla="*/ 105167 h 3349852"/>
              <a:gd name="connsiteX46" fmla="*/ 4439266 w 4671148"/>
              <a:gd name="connsiteY46" fmla="*/ 4817 h 3349852"/>
              <a:gd name="connsiteX47" fmla="*/ 4442430 w 4671148"/>
              <a:gd name="connsiteY47" fmla="*/ 0 h 3349852"/>
              <a:gd name="connsiteX48" fmla="*/ 3734995 w 4671148"/>
              <a:gd name="connsiteY48" fmla="*/ 255671 h 3349852"/>
              <a:gd name="connsiteX49" fmla="*/ 4439266 w 4671148"/>
              <a:gd name="connsiteY49" fmla="*/ 4817 h 3349852"/>
              <a:gd name="connsiteX50" fmla="*/ 4204258 w 4671148"/>
              <a:gd name="connsiteY50" fmla="*/ 362539 h 3349852"/>
              <a:gd name="connsiteX51" fmla="*/ 3779224 w 4671148"/>
              <a:gd name="connsiteY51" fmla="*/ 347486 h 3349852"/>
              <a:gd name="connsiteX52" fmla="*/ 3734995 w 4671148"/>
              <a:gd name="connsiteY52" fmla="*/ 255671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625183 w 4671148"/>
              <a:gd name="connsiteY29" fmla="*/ 61760 h 3349852"/>
              <a:gd name="connsiteX30" fmla="*/ 852039 w 4671148"/>
              <a:gd name="connsiteY30" fmla="*/ 431486 h 3349852"/>
              <a:gd name="connsiteX31" fmla="*/ 815618 w 4671148"/>
              <a:gd name="connsiteY31" fmla="*/ 541013 h 3349852"/>
              <a:gd name="connsiteX32" fmla="*/ 744067 w 4671148"/>
              <a:gd name="connsiteY32" fmla="*/ 1014278 h 3349852"/>
              <a:gd name="connsiteX33" fmla="*/ 2172852 w 4671148"/>
              <a:gd name="connsiteY33" fmla="*/ 2597568 h 3349852"/>
              <a:gd name="connsiteX34" fmla="*/ 2177176 w 4671148"/>
              <a:gd name="connsiteY34" fmla="*/ 2597787 h 3349852"/>
              <a:gd name="connsiteX35" fmla="*/ 1966751 w 4671148"/>
              <a:gd name="connsiteY35" fmla="*/ 2971802 h 3349852"/>
              <a:gd name="connsiteX36" fmla="*/ 2174881 w 4671148"/>
              <a:gd name="connsiteY36" fmla="*/ 3341738 h 3349852"/>
              <a:gd name="connsiteX37" fmla="*/ 2096775 w 4671148"/>
              <a:gd name="connsiteY37" fmla="*/ 3337794 h 3349852"/>
              <a:gd name="connsiteX38" fmla="*/ 0 w 4671148"/>
              <a:gd name="connsiteY38" fmla="*/ 1014278 h 3349852"/>
              <a:gd name="connsiteX39" fmla="*/ 183541 w 4671148"/>
              <a:gd name="connsiteY39" fmla="*/ 105167 h 3349852"/>
              <a:gd name="connsiteX40" fmla="*/ 203538 w 4671148"/>
              <a:gd name="connsiteY40" fmla="*/ 63656 h 3349852"/>
              <a:gd name="connsiteX41" fmla="*/ 625183 w 4671148"/>
              <a:gd name="connsiteY41" fmla="*/ 61760 h 3349852"/>
              <a:gd name="connsiteX42" fmla="*/ 4442430 w 4671148"/>
              <a:gd name="connsiteY42" fmla="*/ 0 h 3349852"/>
              <a:gd name="connsiteX43" fmla="*/ 4503733 w 4671148"/>
              <a:gd name="connsiteY43" fmla="*/ 118598 h 3349852"/>
              <a:gd name="connsiteX44" fmla="*/ 4496534 w 4671148"/>
              <a:gd name="connsiteY44" fmla="*/ 129557 h 3349852"/>
              <a:gd name="connsiteX45" fmla="*/ 4487607 w 4671148"/>
              <a:gd name="connsiteY45" fmla="*/ 105167 h 3349852"/>
              <a:gd name="connsiteX46" fmla="*/ 4439266 w 4671148"/>
              <a:gd name="connsiteY46" fmla="*/ 4817 h 3349852"/>
              <a:gd name="connsiteX47" fmla="*/ 4442430 w 4671148"/>
              <a:gd name="connsiteY47" fmla="*/ 0 h 3349852"/>
              <a:gd name="connsiteX48" fmla="*/ 3734995 w 4671148"/>
              <a:gd name="connsiteY48" fmla="*/ 255671 h 3349852"/>
              <a:gd name="connsiteX49" fmla="*/ 4204258 w 4671148"/>
              <a:gd name="connsiteY49" fmla="*/ 362539 h 3349852"/>
              <a:gd name="connsiteX50" fmla="*/ 3779224 w 4671148"/>
              <a:gd name="connsiteY50" fmla="*/ 347486 h 3349852"/>
              <a:gd name="connsiteX51" fmla="*/ 3734995 w 4671148"/>
              <a:gd name="connsiteY51" fmla="*/ 255671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625183 w 4671148"/>
              <a:gd name="connsiteY29" fmla="*/ 61760 h 3349852"/>
              <a:gd name="connsiteX30" fmla="*/ 852039 w 4671148"/>
              <a:gd name="connsiteY30" fmla="*/ 431486 h 3349852"/>
              <a:gd name="connsiteX31" fmla="*/ 815618 w 4671148"/>
              <a:gd name="connsiteY31" fmla="*/ 541013 h 3349852"/>
              <a:gd name="connsiteX32" fmla="*/ 744067 w 4671148"/>
              <a:gd name="connsiteY32" fmla="*/ 1014278 h 3349852"/>
              <a:gd name="connsiteX33" fmla="*/ 2172852 w 4671148"/>
              <a:gd name="connsiteY33" fmla="*/ 2597568 h 3349852"/>
              <a:gd name="connsiteX34" fmla="*/ 2177176 w 4671148"/>
              <a:gd name="connsiteY34" fmla="*/ 2597787 h 3349852"/>
              <a:gd name="connsiteX35" fmla="*/ 1966751 w 4671148"/>
              <a:gd name="connsiteY35" fmla="*/ 2971802 h 3349852"/>
              <a:gd name="connsiteX36" fmla="*/ 2174881 w 4671148"/>
              <a:gd name="connsiteY36" fmla="*/ 3341738 h 3349852"/>
              <a:gd name="connsiteX37" fmla="*/ 2096775 w 4671148"/>
              <a:gd name="connsiteY37" fmla="*/ 3337794 h 3349852"/>
              <a:gd name="connsiteX38" fmla="*/ 0 w 4671148"/>
              <a:gd name="connsiteY38" fmla="*/ 1014278 h 3349852"/>
              <a:gd name="connsiteX39" fmla="*/ 183541 w 4671148"/>
              <a:gd name="connsiteY39" fmla="*/ 105167 h 3349852"/>
              <a:gd name="connsiteX40" fmla="*/ 203538 w 4671148"/>
              <a:gd name="connsiteY40" fmla="*/ 63656 h 3349852"/>
              <a:gd name="connsiteX41" fmla="*/ 625183 w 4671148"/>
              <a:gd name="connsiteY41" fmla="*/ 61760 h 3349852"/>
              <a:gd name="connsiteX42" fmla="*/ 4442430 w 4671148"/>
              <a:gd name="connsiteY42" fmla="*/ 0 h 3349852"/>
              <a:gd name="connsiteX43" fmla="*/ 4503733 w 4671148"/>
              <a:gd name="connsiteY43" fmla="*/ 118598 h 3349852"/>
              <a:gd name="connsiteX44" fmla="*/ 4496534 w 4671148"/>
              <a:gd name="connsiteY44" fmla="*/ 129557 h 3349852"/>
              <a:gd name="connsiteX45" fmla="*/ 4487607 w 4671148"/>
              <a:gd name="connsiteY45" fmla="*/ 105167 h 3349852"/>
              <a:gd name="connsiteX46" fmla="*/ 4439266 w 4671148"/>
              <a:gd name="connsiteY46" fmla="*/ 4817 h 3349852"/>
              <a:gd name="connsiteX47" fmla="*/ 4442430 w 4671148"/>
              <a:gd name="connsiteY47" fmla="*/ 0 h 3349852"/>
              <a:gd name="connsiteX48" fmla="*/ 3734995 w 4671148"/>
              <a:gd name="connsiteY48" fmla="*/ 255671 h 3349852"/>
              <a:gd name="connsiteX49" fmla="*/ 3779224 w 4671148"/>
              <a:gd name="connsiteY49" fmla="*/ 347486 h 3349852"/>
              <a:gd name="connsiteX50" fmla="*/ 3734995 w 4671148"/>
              <a:gd name="connsiteY50" fmla="*/ 255671 h 3349852"/>
              <a:gd name="connsiteX0" fmla="*/ 2174881 w 4671148"/>
              <a:gd name="connsiteY0" fmla="*/ 3341738 h 3349852"/>
              <a:gd name="connsiteX1" fmla="*/ 2312290 w 4671148"/>
              <a:gd name="connsiteY1" fmla="*/ 3348676 h 3349852"/>
              <a:gd name="connsiteX2" fmla="*/ 2312951 w 4671148"/>
              <a:gd name="connsiteY2" fmla="*/ 3349852 h 3349852"/>
              <a:gd name="connsiteX3" fmla="*/ 2179446 w 4671148"/>
              <a:gd name="connsiteY3" fmla="*/ 3349852 h 3349852"/>
              <a:gd name="connsiteX4" fmla="*/ 2174881 w 4671148"/>
              <a:gd name="connsiteY4" fmla="*/ 3341738 h 3349852"/>
              <a:gd name="connsiteX5" fmla="*/ 2179446 w 4671148"/>
              <a:gd name="connsiteY5" fmla="*/ 2593752 h 3349852"/>
              <a:gd name="connsiteX6" fmla="*/ 2312951 w 4671148"/>
              <a:gd name="connsiteY6" fmla="*/ 2593752 h 3349852"/>
              <a:gd name="connsiteX7" fmla="*/ 2306993 w 4671148"/>
              <a:gd name="connsiteY7" fmla="*/ 2604342 h 3349852"/>
              <a:gd name="connsiteX8" fmla="*/ 2177176 w 4671148"/>
              <a:gd name="connsiteY8" fmla="*/ 2597787 h 3349852"/>
              <a:gd name="connsiteX9" fmla="*/ 2179446 w 4671148"/>
              <a:gd name="connsiteY9" fmla="*/ 2593752 h 3349852"/>
              <a:gd name="connsiteX10" fmla="*/ 3770754 w 4671148"/>
              <a:gd name="connsiteY10" fmla="*/ 347186 h 3349852"/>
              <a:gd name="connsiteX11" fmla="*/ 3779224 w 4671148"/>
              <a:gd name="connsiteY11" fmla="*/ 347486 h 3349852"/>
              <a:gd name="connsiteX12" fmla="*/ 3802013 w 4671148"/>
              <a:gd name="connsiteY12" fmla="*/ 394792 h 3349852"/>
              <a:gd name="connsiteX13" fmla="*/ 3818147 w 4671148"/>
              <a:gd name="connsiteY13" fmla="*/ 438874 h 3349852"/>
              <a:gd name="connsiteX14" fmla="*/ 3770754 w 4671148"/>
              <a:gd name="connsiteY14" fmla="*/ 347186 h 3349852"/>
              <a:gd name="connsiteX15" fmla="*/ 4496534 w 4671148"/>
              <a:gd name="connsiteY15" fmla="*/ 129557 h 3349852"/>
              <a:gd name="connsiteX16" fmla="*/ 4566145 w 4671148"/>
              <a:gd name="connsiteY16" fmla="*/ 319750 h 3349852"/>
              <a:gd name="connsiteX17" fmla="*/ 4671148 w 4671148"/>
              <a:gd name="connsiteY17" fmla="*/ 1014278 h 3349852"/>
              <a:gd name="connsiteX18" fmla="*/ 2335574 w 4671148"/>
              <a:gd name="connsiteY18" fmla="*/ 3349852 h 3349852"/>
              <a:gd name="connsiteX19" fmla="*/ 2312290 w 4671148"/>
              <a:gd name="connsiteY19" fmla="*/ 3348676 h 3349852"/>
              <a:gd name="connsiteX20" fmla="*/ 2100256 w 4671148"/>
              <a:gd name="connsiteY20" fmla="*/ 2971802 h 3349852"/>
              <a:gd name="connsiteX21" fmla="*/ 2306993 w 4671148"/>
              <a:gd name="connsiteY21" fmla="*/ 2604342 h 3349852"/>
              <a:gd name="connsiteX22" fmla="*/ 2335574 w 4671148"/>
              <a:gd name="connsiteY22" fmla="*/ 2605785 h 3349852"/>
              <a:gd name="connsiteX23" fmla="*/ 3927081 w 4671148"/>
              <a:gd name="connsiteY23" fmla="*/ 1014278 h 3349852"/>
              <a:gd name="connsiteX24" fmla="*/ 3855530 w 4671148"/>
              <a:gd name="connsiteY24" fmla="*/ 541013 h 3349852"/>
              <a:gd name="connsiteX25" fmla="*/ 3818147 w 4671148"/>
              <a:gd name="connsiteY25" fmla="*/ 438874 h 3349852"/>
              <a:gd name="connsiteX26" fmla="*/ 3832057 w 4671148"/>
              <a:gd name="connsiteY26" fmla="*/ 465784 h 3349852"/>
              <a:gd name="connsiteX27" fmla="*/ 4265560 w 4671148"/>
              <a:gd name="connsiteY27" fmla="*/ 481137 h 3349852"/>
              <a:gd name="connsiteX28" fmla="*/ 4496534 w 4671148"/>
              <a:gd name="connsiteY28" fmla="*/ 129557 h 3349852"/>
              <a:gd name="connsiteX29" fmla="*/ 625183 w 4671148"/>
              <a:gd name="connsiteY29" fmla="*/ 61760 h 3349852"/>
              <a:gd name="connsiteX30" fmla="*/ 852039 w 4671148"/>
              <a:gd name="connsiteY30" fmla="*/ 431486 h 3349852"/>
              <a:gd name="connsiteX31" fmla="*/ 815618 w 4671148"/>
              <a:gd name="connsiteY31" fmla="*/ 541013 h 3349852"/>
              <a:gd name="connsiteX32" fmla="*/ 744067 w 4671148"/>
              <a:gd name="connsiteY32" fmla="*/ 1014278 h 3349852"/>
              <a:gd name="connsiteX33" fmla="*/ 2172852 w 4671148"/>
              <a:gd name="connsiteY33" fmla="*/ 2597568 h 3349852"/>
              <a:gd name="connsiteX34" fmla="*/ 2177176 w 4671148"/>
              <a:gd name="connsiteY34" fmla="*/ 2597787 h 3349852"/>
              <a:gd name="connsiteX35" fmla="*/ 1966751 w 4671148"/>
              <a:gd name="connsiteY35" fmla="*/ 2971802 h 3349852"/>
              <a:gd name="connsiteX36" fmla="*/ 2174881 w 4671148"/>
              <a:gd name="connsiteY36" fmla="*/ 3341738 h 3349852"/>
              <a:gd name="connsiteX37" fmla="*/ 2096775 w 4671148"/>
              <a:gd name="connsiteY37" fmla="*/ 3337794 h 3349852"/>
              <a:gd name="connsiteX38" fmla="*/ 0 w 4671148"/>
              <a:gd name="connsiteY38" fmla="*/ 1014278 h 3349852"/>
              <a:gd name="connsiteX39" fmla="*/ 183541 w 4671148"/>
              <a:gd name="connsiteY39" fmla="*/ 105167 h 3349852"/>
              <a:gd name="connsiteX40" fmla="*/ 203538 w 4671148"/>
              <a:gd name="connsiteY40" fmla="*/ 63656 h 3349852"/>
              <a:gd name="connsiteX41" fmla="*/ 625183 w 4671148"/>
              <a:gd name="connsiteY41" fmla="*/ 61760 h 3349852"/>
              <a:gd name="connsiteX42" fmla="*/ 4442430 w 4671148"/>
              <a:gd name="connsiteY42" fmla="*/ 0 h 3349852"/>
              <a:gd name="connsiteX43" fmla="*/ 4503733 w 4671148"/>
              <a:gd name="connsiteY43" fmla="*/ 118598 h 3349852"/>
              <a:gd name="connsiteX44" fmla="*/ 4496534 w 4671148"/>
              <a:gd name="connsiteY44" fmla="*/ 129557 h 3349852"/>
              <a:gd name="connsiteX45" fmla="*/ 4487607 w 4671148"/>
              <a:gd name="connsiteY45" fmla="*/ 105167 h 3349852"/>
              <a:gd name="connsiteX46" fmla="*/ 4439266 w 4671148"/>
              <a:gd name="connsiteY46" fmla="*/ 4817 h 3349852"/>
              <a:gd name="connsiteX47" fmla="*/ 4442430 w 4671148"/>
              <a:gd name="connsiteY47" fmla="*/ 0 h 3349852"/>
              <a:gd name="connsiteX0" fmla="*/ 2174881 w 4671148"/>
              <a:gd name="connsiteY0" fmla="*/ 3336921 h 3345035"/>
              <a:gd name="connsiteX1" fmla="*/ 2312290 w 4671148"/>
              <a:gd name="connsiteY1" fmla="*/ 3343859 h 3345035"/>
              <a:gd name="connsiteX2" fmla="*/ 2312951 w 4671148"/>
              <a:gd name="connsiteY2" fmla="*/ 3345035 h 3345035"/>
              <a:gd name="connsiteX3" fmla="*/ 2179446 w 4671148"/>
              <a:gd name="connsiteY3" fmla="*/ 3345035 h 3345035"/>
              <a:gd name="connsiteX4" fmla="*/ 2174881 w 4671148"/>
              <a:gd name="connsiteY4" fmla="*/ 3336921 h 3345035"/>
              <a:gd name="connsiteX5" fmla="*/ 2179446 w 4671148"/>
              <a:gd name="connsiteY5" fmla="*/ 2588935 h 3345035"/>
              <a:gd name="connsiteX6" fmla="*/ 2312951 w 4671148"/>
              <a:gd name="connsiteY6" fmla="*/ 2588935 h 3345035"/>
              <a:gd name="connsiteX7" fmla="*/ 2306993 w 4671148"/>
              <a:gd name="connsiteY7" fmla="*/ 2599525 h 3345035"/>
              <a:gd name="connsiteX8" fmla="*/ 2177176 w 4671148"/>
              <a:gd name="connsiteY8" fmla="*/ 2592970 h 3345035"/>
              <a:gd name="connsiteX9" fmla="*/ 2179446 w 4671148"/>
              <a:gd name="connsiteY9" fmla="*/ 2588935 h 3345035"/>
              <a:gd name="connsiteX10" fmla="*/ 3770754 w 4671148"/>
              <a:gd name="connsiteY10" fmla="*/ 342369 h 3345035"/>
              <a:gd name="connsiteX11" fmla="*/ 3779224 w 4671148"/>
              <a:gd name="connsiteY11" fmla="*/ 342669 h 3345035"/>
              <a:gd name="connsiteX12" fmla="*/ 3802013 w 4671148"/>
              <a:gd name="connsiteY12" fmla="*/ 389975 h 3345035"/>
              <a:gd name="connsiteX13" fmla="*/ 3818147 w 4671148"/>
              <a:gd name="connsiteY13" fmla="*/ 434057 h 3345035"/>
              <a:gd name="connsiteX14" fmla="*/ 3770754 w 4671148"/>
              <a:gd name="connsiteY14" fmla="*/ 342369 h 3345035"/>
              <a:gd name="connsiteX15" fmla="*/ 4496534 w 4671148"/>
              <a:gd name="connsiteY15" fmla="*/ 124740 h 3345035"/>
              <a:gd name="connsiteX16" fmla="*/ 4566145 w 4671148"/>
              <a:gd name="connsiteY16" fmla="*/ 314933 h 3345035"/>
              <a:gd name="connsiteX17" fmla="*/ 4671148 w 4671148"/>
              <a:gd name="connsiteY17" fmla="*/ 1009461 h 3345035"/>
              <a:gd name="connsiteX18" fmla="*/ 2335574 w 4671148"/>
              <a:gd name="connsiteY18" fmla="*/ 3345035 h 3345035"/>
              <a:gd name="connsiteX19" fmla="*/ 2312290 w 4671148"/>
              <a:gd name="connsiteY19" fmla="*/ 3343859 h 3345035"/>
              <a:gd name="connsiteX20" fmla="*/ 2100256 w 4671148"/>
              <a:gd name="connsiteY20" fmla="*/ 2966985 h 3345035"/>
              <a:gd name="connsiteX21" fmla="*/ 2306993 w 4671148"/>
              <a:gd name="connsiteY21" fmla="*/ 2599525 h 3345035"/>
              <a:gd name="connsiteX22" fmla="*/ 2335574 w 4671148"/>
              <a:gd name="connsiteY22" fmla="*/ 2600968 h 3345035"/>
              <a:gd name="connsiteX23" fmla="*/ 3927081 w 4671148"/>
              <a:gd name="connsiteY23" fmla="*/ 1009461 h 3345035"/>
              <a:gd name="connsiteX24" fmla="*/ 3855530 w 4671148"/>
              <a:gd name="connsiteY24" fmla="*/ 536196 h 3345035"/>
              <a:gd name="connsiteX25" fmla="*/ 3818147 w 4671148"/>
              <a:gd name="connsiteY25" fmla="*/ 434057 h 3345035"/>
              <a:gd name="connsiteX26" fmla="*/ 3832057 w 4671148"/>
              <a:gd name="connsiteY26" fmla="*/ 460967 h 3345035"/>
              <a:gd name="connsiteX27" fmla="*/ 4265560 w 4671148"/>
              <a:gd name="connsiteY27" fmla="*/ 476320 h 3345035"/>
              <a:gd name="connsiteX28" fmla="*/ 4496534 w 4671148"/>
              <a:gd name="connsiteY28" fmla="*/ 124740 h 3345035"/>
              <a:gd name="connsiteX29" fmla="*/ 625183 w 4671148"/>
              <a:gd name="connsiteY29" fmla="*/ 56943 h 3345035"/>
              <a:gd name="connsiteX30" fmla="*/ 852039 w 4671148"/>
              <a:gd name="connsiteY30" fmla="*/ 426669 h 3345035"/>
              <a:gd name="connsiteX31" fmla="*/ 815618 w 4671148"/>
              <a:gd name="connsiteY31" fmla="*/ 536196 h 3345035"/>
              <a:gd name="connsiteX32" fmla="*/ 744067 w 4671148"/>
              <a:gd name="connsiteY32" fmla="*/ 1009461 h 3345035"/>
              <a:gd name="connsiteX33" fmla="*/ 2172852 w 4671148"/>
              <a:gd name="connsiteY33" fmla="*/ 2592751 h 3345035"/>
              <a:gd name="connsiteX34" fmla="*/ 2177176 w 4671148"/>
              <a:gd name="connsiteY34" fmla="*/ 2592970 h 3345035"/>
              <a:gd name="connsiteX35" fmla="*/ 1966751 w 4671148"/>
              <a:gd name="connsiteY35" fmla="*/ 2966985 h 3345035"/>
              <a:gd name="connsiteX36" fmla="*/ 2174881 w 4671148"/>
              <a:gd name="connsiteY36" fmla="*/ 3336921 h 3345035"/>
              <a:gd name="connsiteX37" fmla="*/ 2096775 w 4671148"/>
              <a:gd name="connsiteY37" fmla="*/ 3332977 h 3345035"/>
              <a:gd name="connsiteX38" fmla="*/ 0 w 4671148"/>
              <a:gd name="connsiteY38" fmla="*/ 1009461 h 3345035"/>
              <a:gd name="connsiteX39" fmla="*/ 183541 w 4671148"/>
              <a:gd name="connsiteY39" fmla="*/ 100350 h 3345035"/>
              <a:gd name="connsiteX40" fmla="*/ 203538 w 4671148"/>
              <a:gd name="connsiteY40" fmla="*/ 58839 h 3345035"/>
              <a:gd name="connsiteX41" fmla="*/ 625183 w 4671148"/>
              <a:gd name="connsiteY41" fmla="*/ 56943 h 3345035"/>
              <a:gd name="connsiteX42" fmla="*/ 4439266 w 4671148"/>
              <a:gd name="connsiteY42" fmla="*/ 0 h 3345035"/>
              <a:gd name="connsiteX43" fmla="*/ 4503733 w 4671148"/>
              <a:gd name="connsiteY43" fmla="*/ 113781 h 3345035"/>
              <a:gd name="connsiteX44" fmla="*/ 4496534 w 4671148"/>
              <a:gd name="connsiteY44" fmla="*/ 124740 h 3345035"/>
              <a:gd name="connsiteX45" fmla="*/ 4487607 w 4671148"/>
              <a:gd name="connsiteY45" fmla="*/ 100350 h 3345035"/>
              <a:gd name="connsiteX46" fmla="*/ 4439266 w 4671148"/>
              <a:gd name="connsiteY46" fmla="*/ 0 h 3345035"/>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496534 w 4671148"/>
              <a:gd name="connsiteY15" fmla="*/ 67797 h 3288092"/>
              <a:gd name="connsiteX16" fmla="*/ 4566145 w 4671148"/>
              <a:gd name="connsiteY16" fmla="*/ 257990 h 3288092"/>
              <a:gd name="connsiteX17" fmla="*/ 4671148 w 4671148"/>
              <a:gd name="connsiteY17" fmla="*/ 952518 h 3288092"/>
              <a:gd name="connsiteX18" fmla="*/ 2335574 w 4671148"/>
              <a:gd name="connsiteY18" fmla="*/ 3288092 h 3288092"/>
              <a:gd name="connsiteX19" fmla="*/ 2312290 w 4671148"/>
              <a:gd name="connsiteY19" fmla="*/ 3286916 h 3288092"/>
              <a:gd name="connsiteX20" fmla="*/ 2100256 w 4671148"/>
              <a:gd name="connsiteY20" fmla="*/ 2910042 h 3288092"/>
              <a:gd name="connsiteX21" fmla="*/ 2306993 w 4671148"/>
              <a:gd name="connsiteY21" fmla="*/ 2542582 h 3288092"/>
              <a:gd name="connsiteX22" fmla="*/ 2335574 w 4671148"/>
              <a:gd name="connsiteY22" fmla="*/ 2544025 h 3288092"/>
              <a:gd name="connsiteX23" fmla="*/ 3927081 w 4671148"/>
              <a:gd name="connsiteY23" fmla="*/ 952518 h 3288092"/>
              <a:gd name="connsiteX24" fmla="*/ 3855530 w 4671148"/>
              <a:gd name="connsiteY24" fmla="*/ 479253 h 3288092"/>
              <a:gd name="connsiteX25" fmla="*/ 3818147 w 4671148"/>
              <a:gd name="connsiteY25" fmla="*/ 377114 h 3288092"/>
              <a:gd name="connsiteX26" fmla="*/ 3832057 w 4671148"/>
              <a:gd name="connsiteY26" fmla="*/ 404024 h 3288092"/>
              <a:gd name="connsiteX27" fmla="*/ 4265560 w 4671148"/>
              <a:gd name="connsiteY27" fmla="*/ 419377 h 3288092"/>
              <a:gd name="connsiteX28" fmla="*/ 4496534 w 4671148"/>
              <a:gd name="connsiteY28" fmla="*/ 67797 h 3288092"/>
              <a:gd name="connsiteX29" fmla="*/ 625183 w 4671148"/>
              <a:gd name="connsiteY29" fmla="*/ 0 h 3288092"/>
              <a:gd name="connsiteX30" fmla="*/ 852039 w 4671148"/>
              <a:gd name="connsiteY30" fmla="*/ 369726 h 3288092"/>
              <a:gd name="connsiteX31" fmla="*/ 815618 w 4671148"/>
              <a:gd name="connsiteY31" fmla="*/ 479253 h 3288092"/>
              <a:gd name="connsiteX32" fmla="*/ 744067 w 4671148"/>
              <a:gd name="connsiteY32" fmla="*/ 952518 h 3288092"/>
              <a:gd name="connsiteX33" fmla="*/ 2172852 w 4671148"/>
              <a:gd name="connsiteY33" fmla="*/ 2535808 h 3288092"/>
              <a:gd name="connsiteX34" fmla="*/ 2177176 w 4671148"/>
              <a:gd name="connsiteY34" fmla="*/ 2536027 h 3288092"/>
              <a:gd name="connsiteX35" fmla="*/ 1966751 w 4671148"/>
              <a:gd name="connsiteY35" fmla="*/ 2910042 h 3288092"/>
              <a:gd name="connsiteX36" fmla="*/ 2174881 w 4671148"/>
              <a:gd name="connsiteY36" fmla="*/ 3279978 h 3288092"/>
              <a:gd name="connsiteX37" fmla="*/ 2096775 w 4671148"/>
              <a:gd name="connsiteY37" fmla="*/ 3276034 h 3288092"/>
              <a:gd name="connsiteX38" fmla="*/ 0 w 4671148"/>
              <a:gd name="connsiteY38" fmla="*/ 952518 h 3288092"/>
              <a:gd name="connsiteX39" fmla="*/ 183541 w 4671148"/>
              <a:gd name="connsiteY39" fmla="*/ 43407 h 3288092"/>
              <a:gd name="connsiteX40" fmla="*/ 203538 w 4671148"/>
              <a:gd name="connsiteY40" fmla="*/ 1896 h 3288092"/>
              <a:gd name="connsiteX41" fmla="*/ 625183 w 4671148"/>
              <a:gd name="connsiteY41" fmla="*/ 0 h 3288092"/>
              <a:gd name="connsiteX42" fmla="*/ 4487607 w 4671148"/>
              <a:gd name="connsiteY42" fmla="*/ 43407 h 3288092"/>
              <a:gd name="connsiteX43" fmla="*/ 4503733 w 4671148"/>
              <a:gd name="connsiteY43" fmla="*/ 56838 h 3288092"/>
              <a:gd name="connsiteX44" fmla="*/ 4496534 w 4671148"/>
              <a:gd name="connsiteY44" fmla="*/ 67797 h 3288092"/>
              <a:gd name="connsiteX45" fmla="*/ 4487607 w 4671148"/>
              <a:gd name="connsiteY45" fmla="*/ 43407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496534 w 4671148"/>
              <a:gd name="connsiteY15" fmla="*/ 67797 h 3288092"/>
              <a:gd name="connsiteX16" fmla="*/ 4566145 w 4671148"/>
              <a:gd name="connsiteY16" fmla="*/ 257990 h 3288092"/>
              <a:gd name="connsiteX17" fmla="*/ 4671148 w 4671148"/>
              <a:gd name="connsiteY17" fmla="*/ 952518 h 3288092"/>
              <a:gd name="connsiteX18" fmla="*/ 2335574 w 4671148"/>
              <a:gd name="connsiteY18" fmla="*/ 3288092 h 3288092"/>
              <a:gd name="connsiteX19" fmla="*/ 2312290 w 4671148"/>
              <a:gd name="connsiteY19" fmla="*/ 3286916 h 3288092"/>
              <a:gd name="connsiteX20" fmla="*/ 2100256 w 4671148"/>
              <a:gd name="connsiteY20" fmla="*/ 2910042 h 3288092"/>
              <a:gd name="connsiteX21" fmla="*/ 2306993 w 4671148"/>
              <a:gd name="connsiteY21" fmla="*/ 2542582 h 3288092"/>
              <a:gd name="connsiteX22" fmla="*/ 2335574 w 4671148"/>
              <a:gd name="connsiteY22" fmla="*/ 2544025 h 3288092"/>
              <a:gd name="connsiteX23" fmla="*/ 3927081 w 4671148"/>
              <a:gd name="connsiteY23" fmla="*/ 952518 h 3288092"/>
              <a:gd name="connsiteX24" fmla="*/ 3855530 w 4671148"/>
              <a:gd name="connsiteY24" fmla="*/ 479253 h 3288092"/>
              <a:gd name="connsiteX25" fmla="*/ 3818147 w 4671148"/>
              <a:gd name="connsiteY25" fmla="*/ 377114 h 3288092"/>
              <a:gd name="connsiteX26" fmla="*/ 3832057 w 4671148"/>
              <a:gd name="connsiteY26" fmla="*/ 404024 h 3288092"/>
              <a:gd name="connsiteX27" fmla="*/ 4265560 w 4671148"/>
              <a:gd name="connsiteY27" fmla="*/ 419377 h 3288092"/>
              <a:gd name="connsiteX28" fmla="*/ 4496534 w 4671148"/>
              <a:gd name="connsiteY28" fmla="*/ 67797 h 3288092"/>
              <a:gd name="connsiteX29" fmla="*/ 625183 w 4671148"/>
              <a:gd name="connsiteY29" fmla="*/ 0 h 3288092"/>
              <a:gd name="connsiteX30" fmla="*/ 852039 w 4671148"/>
              <a:gd name="connsiteY30" fmla="*/ 369726 h 3288092"/>
              <a:gd name="connsiteX31" fmla="*/ 815618 w 4671148"/>
              <a:gd name="connsiteY31" fmla="*/ 479253 h 3288092"/>
              <a:gd name="connsiteX32" fmla="*/ 744067 w 4671148"/>
              <a:gd name="connsiteY32" fmla="*/ 952518 h 3288092"/>
              <a:gd name="connsiteX33" fmla="*/ 2172852 w 4671148"/>
              <a:gd name="connsiteY33" fmla="*/ 2535808 h 3288092"/>
              <a:gd name="connsiteX34" fmla="*/ 2177176 w 4671148"/>
              <a:gd name="connsiteY34" fmla="*/ 2536027 h 3288092"/>
              <a:gd name="connsiteX35" fmla="*/ 1966751 w 4671148"/>
              <a:gd name="connsiteY35" fmla="*/ 2910042 h 3288092"/>
              <a:gd name="connsiteX36" fmla="*/ 2174881 w 4671148"/>
              <a:gd name="connsiteY36" fmla="*/ 3279978 h 3288092"/>
              <a:gd name="connsiteX37" fmla="*/ 2096775 w 4671148"/>
              <a:gd name="connsiteY37" fmla="*/ 3276034 h 3288092"/>
              <a:gd name="connsiteX38" fmla="*/ 0 w 4671148"/>
              <a:gd name="connsiteY38" fmla="*/ 952518 h 3288092"/>
              <a:gd name="connsiteX39" fmla="*/ 183541 w 4671148"/>
              <a:gd name="connsiteY39" fmla="*/ 43407 h 3288092"/>
              <a:gd name="connsiteX40" fmla="*/ 203538 w 4671148"/>
              <a:gd name="connsiteY40" fmla="*/ 1896 h 3288092"/>
              <a:gd name="connsiteX41" fmla="*/ 625183 w 4671148"/>
              <a:gd name="connsiteY41" fmla="*/ 0 h 3288092"/>
              <a:gd name="connsiteX42" fmla="*/ 4496534 w 4671148"/>
              <a:gd name="connsiteY42" fmla="*/ 67797 h 3288092"/>
              <a:gd name="connsiteX43" fmla="*/ 4503733 w 4671148"/>
              <a:gd name="connsiteY43" fmla="*/ 56838 h 3288092"/>
              <a:gd name="connsiteX44" fmla="*/ 4496534 w 4671148"/>
              <a:gd name="connsiteY44" fmla="*/ 67797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496534 w 4671148"/>
              <a:gd name="connsiteY15" fmla="*/ 67797 h 3288092"/>
              <a:gd name="connsiteX16" fmla="*/ 4566145 w 4671148"/>
              <a:gd name="connsiteY16" fmla="*/ 257990 h 3288092"/>
              <a:gd name="connsiteX17" fmla="*/ 4671148 w 4671148"/>
              <a:gd name="connsiteY17" fmla="*/ 952518 h 3288092"/>
              <a:gd name="connsiteX18" fmla="*/ 2335574 w 4671148"/>
              <a:gd name="connsiteY18" fmla="*/ 3288092 h 3288092"/>
              <a:gd name="connsiteX19" fmla="*/ 2312290 w 4671148"/>
              <a:gd name="connsiteY19" fmla="*/ 3286916 h 3288092"/>
              <a:gd name="connsiteX20" fmla="*/ 2100256 w 4671148"/>
              <a:gd name="connsiteY20" fmla="*/ 2910042 h 3288092"/>
              <a:gd name="connsiteX21" fmla="*/ 2306993 w 4671148"/>
              <a:gd name="connsiteY21" fmla="*/ 2542582 h 3288092"/>
              <a:gd name="connsiteX22" fmla="*/ 2335574 w 4671148"/>
              <a:gd name="connsiteY22" fmla="*/ 2544025 h 3288092"/>
              <a:gd name="connsiteX23" fmla="*/ 3927081 w 4671148"/>
              <a:gd name="connsiteY23" fmla="*/ 952518 h 3288092"/>
              <a:gd name="connsiteX24" fmla="*/ 3855530 w 4671148"/>
              <a:gd name="connsiteY24" fmla="*/ 479253 h 3288092"/>
              <a:gd name="connsiteX25" fmla="*/ 3818147 w 4671148"/>
              <a:gd name="connsiteY25" fmla="*/ 377114 h 3288092"/>
              <a:gd name="connsiteX26" fmla="*/ 3832057 w 4671148"/>
              <a:gd name="connsiteY26" fmla="*/ 404024 h 3288092"/>
              <a:gd name="connsiteX27" fmla="*/ 4265560 w 4671148"/>
              <a:gd name="connsiteY27" fmla="*/ 419377 h 3288092"/>
              <a:gd name="connsiteX28" fmla="*/ 4496534 w 4671148"/>
              <a:gd name="connsiteY28" fmla="*/ 67797 h 3288092"/>
              <a:gd name="connsiteX29" fmla="*/ 625183 w 4671148"/>
              <a:gd name="connsiteY29" fmla="*/ 0 h 3288092"/>
              <a:gd name="connsiteX30" fmla="*/ 852039 w 4671148"/>
              <a:gd name="connsiteY30" fmla="*/ 369726 h 3288092"/>
              <a:gd name="connsiteX31" fmla="*/ 815618 w 4671148"/>
              <a:gd name="connsiteY31" fmla="*/ 479253 h 3288092"/>
              <a:gd name="connsiteX32" fmla="*/ 744067 w 4671148"/>
              <a:gd name="connsiteY32" fmla="*/ 952518 h 3288092"/>
              <a:gd name="connsiteX33" fmla="*/ 2172852 w 4671148"/>
              <a:gd name="connsiteY33" fmla="*/ 2535808 h 3288092"/>
              <a:gd name="connsiteX34" fmla="*/ 2177176 w 4671148"/>
              <a:gd name="connsiteY34" fmla="*/ 2536027 h 3288092"/>
              <a:gd name="connsiteX35" fmla="*/ 1966751 w 4671148"/>
              <a:gd name="connsiteY35" fmla="*/ 2910042 h 3288092"/>
              <a:gd name="connsiteX36" fmla="*/ 2174881 w 4671148"/>
              <a:gd name="connsiteY36" fmla="*/ 3279978 h 3288092"/>
              <a:gd name="connsiteX37" fmla="*/ 2096775 w 4671148"/>
              <a:gd name="connsiteY37" fmla="*/ 3276034 h 3288092"/>
              <a:gd name="connsiteX38" fmla="*/ 0 w 4671148"/>
              <a:gd name="connsiteY38" fmla="*/ 952518 h 3288092"/>
              <a:gd name="connsiteX39" fmla="*/ 183541 w 4671148"/>
              <a:gd name="connsiteY39" fmla="*/ 43407 h 3288092"/>
              <a:gd name="connsiteX40" fmla="*/ 203538 w 4671148"/>
              <a:gd name="connsiteY40" fmla="*/ 1896 h 3288092"/>
              <a:gd name="connsiteX41" fmla="*/ 625183 w 4671148"/>
              <a:gd name="connsiteY41"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265560 w 4671148"/>
              <a:gd name="connsiteY15" fmla="*/ 419377 h 3288092"/>
              <a:gd name="connsiteX16" fmla="*/ 4566145 w 4671148"/>
              <a:gd name="connsiteY16" fmla="*/ 257990 h 3288092"/>
              <a:gd name="connsiteX17" fmla="*/ 4671148 w 4671148"/>
              <a:gd name="connsiteY17" fmla="*/ 952518 h 3288092"/>
              <a:gd name="connsiteX18" fmla="*/ 2335574 w 4671148"/>
              <a:gd name="connsiteY18" fmla="*/ 3288092 h 3288092"/>
              <a:gd name="connsiteX19" fmla="*/ 2312290 w 4671148"/>
              <a:gd name="connsiteY19" fmla="*/ 3286916 h 3288092"/>
              <a:gd name="connsiteX20" fmla="*/ 2100256 w 4671148"/>
              <a:gd name="connsiteY20" fmla="*/ 2910042 h 3288092"/>
              <a:gd name="connsiteX21" fmla="*/ 2306993 w 4671148"/>
              <a:gd name="connsiteY21" fmla="*/ 2542582 h 3288092"/>
              <a:gd name="connsiteX22" fmla="*/ 2335574 w 4671148"/>
              <a:gd name="connsiteY22" fmla="*/ 2544025 h 3288092"/>
              <a:gd name="connsiteX23" fmla="*/ 3927081 w 4671148"/>
              <a:gd name="connsiteY23" fmla="*/ 952518 h 3288092"/>
              <a:gd name="connsiteX24" fmla="*/ 3855530 w 4671148"/>
              <a:gd name="connsiteY24" fmla="*/ 479253 h 3288092"/>
              <a:gd name="connsiteX25" fmla="*/ 3818147 w 4671148"/>
              <a:gd name="connsiteY25" fmla="*/ 377114 h 3288092"/>
              <a:gd name="connsiteX26" fmla="*/ 3832057 w 4671148"/>
              <a:gd name="connsiteY26" fmla="*/ 404024 h 3288092"/>
              <a:gd name="connsiteX27" fmla="*/ 4265560 w 4671148"/>
              <a:gd name="connsiteY27" fmla="*/ 419377 h 3288092"/>
              <a:gd name="connsiteX28" fmla="*/ 625183 w 4671148"/>
              <a:gd name="connsiteY28" fmla="*/ 0 h 3288092"/>
              <a:gd name="connsiteX29" fmla="*/ 852039 w 4671148"/>
              <a:gd name="connsiteY29" fmla="*/ 369726 h 3288092"/>
              <a:gd name="connsiteX30" fmla="*/ 815618 w 4671148"/>
              <a:gd name="connsiteY30" fmla="*/ 479253 h 3288092"/>
              <a:gd name="connsiteX31" fmla="*/ 744067 w 4671148"/>
              <a:gd name="connsiteY31" fmla="*/ 952518 h 3288092"/>
              <a:gd name="connsiteX32" fmla="*/ 2172852 w 4671148"/>
              <a:gd name="connsiteY32" fmla="*/ 2535808 h 3288092"/>
              <a:gd name="connsiteX33" fmla="*/ 2177176 w 4671148"/>
              <a:gd name="connsiteY33" fmla="*/ 2536027 h 3288092"/>
              <a:gd name="connsiteX34" fmla="*/ 1966751 w 4671148"/>
              <a:gd name="connsiteY34" fmla="*/ 2910042 h 3288092"/>
              <a:gd name="connsiteX35" fmla="*/ 2174881 w 4671148"/>
              <a:gd name="connsiteY35" fmla="*/ 3279978 h 3288092"/>
              <a:gd name="connsiteX36" fmla="*/ 2096775 w 4671148"/>
              <a:gd name="connsiteY36" fmla="*/ 3276034 h 3288092"/>
              <a:gd name="connsiteX37" fmla="*/ 0 w 4671148"/>
              <a:gd name="connsiteY37" fmla="*/ 952518 h 3288092"/>
              <a:gd name="connsiteX38" fmla="*/ 183541 w 4671148"/>
              <a:gd name="connsiteY38" fmla="*/ 43407 h 3288092"/>
              <a:gd name="connsiteX39" fmla="*/ 203538 w 4671148"/>
              <a:gd name="connsiteY39" fmla="*/ 1896 h 3288092"/>
              <a:gd name="connsiteX40" fmla="*/ 625183 w 4671148"/>
              <a:gd name="connsiteY40"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265560 w 4671148"/>
              <a:gd name="connsiteY15" fmla="*/ 419377 h 3288092"/>
              <a:gd name="connsiteX16" fmla="*/ 4671148 w 4671148"/>
              <a:gd name="connsiteY16" fmla="*/ 952518 h 3288092"/>
              <a:gd name="connsiteX17" fmla="*/ 2335574 w 4671148"/>
              <a:gd name="connsiteY17" fmla="*/ 3288092 h 3288092"/>
              <a:gd name="connsiteX18" fmla="*/ 2312290 w 4671148"/>
              <a:gd name="connsiteY18" fmla="*/ 3286916 h 3288092"/>
              <a:gd name="connsiteX19" fmla="*/ 2100256 w 4671148"/>
              <a:gd name="connsiteY19" fmla="*/ 2910042 h 3288092"/>
              <a:gd name="connsiteX20" fmla="*/ 2306993 w 4671148"/>
              <a:gd name="connsiteY20" fmla="*/ 2542582 h 3288092"/>
              <a:gd name="connsiteX21" fmla="*/ 2335574 w 4671148"/>
              <a:gd name="connsiteY21" fmla="*/ 2544025 h 3288092"/>
              <a:gd name="connsiteX22" fmla="*/ 3927081 w 4671148"/>
              <a:gd name="connsiteY22" fmla="*/ 952518 h 3288092"/>
              <a:gd name="connsiteX23" fmla="*/ 3855530 w 4671148"/>
              <a:gd name="connsiteY23" fmla="*/ 479253 h 3288092"/>
              <a:gd name="connsiteX24" fmla="*/ 3818147 w 4671148"/>
              <a:gd name="connsiteY24" fmla="*/ 377114 h 3288092"/>
              <a:gd name="connsiteX25" fmla="*/ 3832057 w 4671148"/>
              <a:gd name="connsiteY25" fmla="*/ 404024 h 3288092"/>
              <a:gd name="connsiteX26" fmla="*/ 4265560 w 4671148"/>
              <a:gd name="connsiteY26" fmla="*/ 419377 h 3288092"/>
              <a:gd name="connsiteX27" fmla="*/ 625183 w 4671148"/>
              <a:gd name="connsiteY27" fmla="*/ 0 h 3288092"/>
              <a:gd name="connsiteX28" fmla="*/ 852039 w 4671148"/>
              <a:gd name="connsiteY28" fmla="*/ 369726 h 3288092"/>
              <a:gd name="connsiteX29" fmla="*/ 815618 w 4671148"/>
              <a:gd name="connsiteY29" fmla="*/ 479253 h 3288092"/>
              <a:gd name="connsiteX30" fmla="*/ 744067 w 4671148"/>
              <a:gd name="connsiteY30" fmla="*/ 952518 h 3288092"/>
              <a:gd name="connsiteX31" fmla="*/ 2172852 w 4671148"/>
              <a:gd name="connsiteY31" fmla="*/ 2535808 h 3288092"/>
              <a:gd name="connsiteX32" fmla="*/ 2177176 w 4671148"/>
              <a:gd name="connsiteY32" fmla="*/ 2536027 h 3288092"/>
              <a:gd name="connsiteX33" fmla="*/ 1966751 w 4671148"/>
              <a:gd name="connsiteY33" fmla="*/ 2910042 h 3288092"/>
              <a:gd name="connsiteX34" fmla="*/ 2174881 w 4671148"/>
              <a:gd name="connsiteY34" fmla="*/ 3279978 h 3288092"/>
              <a:gd name="connsiteX35" fmla="*/ 2096775 w 4671148"/>
              <a:gd name="connsiteY35" fmla="*/ 3276034 h 3288092"/>
              <a:gd name="connsiteX36" fmla="*/ 0 w 4671148"/>
              <a:gd name="connsiteY36" fmla="*/ 952518 h 3288092"/>
              <a:gd name="connsiteX37" fmla="*/ 183541 w 4671148"/>
              <a:gd name="connsiteY37" fmla="*/ 43407 h 3288092"/>
              <a:gd name="connsiteX38" fmla="*/ 203538 w 4671148"/>
              <a:gd name="connsiteY38" fmla="*/ 1896 h 3288092"/>
              <a:gd name="connsiteX39" fmla="*/ 625183 w 4671148"/>
              <a:gd name="connsiteY39"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265560 w 4671148"/>
              <a:gd name="connsiteY15" fmla="*/ 419377 h 3288092"/>
              <a:gd name="connsiteX16" fmla="*/ 4671148 w 4671148"/>
              <a:gd name="connsiteY16" fmla="*/ 952518 h 3288092"/>
              <a:gd name="connsiteX17" fmla="*/ 2335574 w 4671148"/>
              <a:gd name="connsiteY17" fmla="*/ 3288092 h 3288092"/>
              <a:gd name="connsiteX18" fmla="*/ 2312290 w 4671148"/>
              <a:gd name="connsiteY18" fmla="*/ 3286916 h 3288092"/>
              <a:gd name="connsiteX19" fmla="*/ 2100256 w 4671148"/>
              <a:gd name="connsiteY19" fmla="*/ 2910042 h 3288092"/>
              <a:gd name="connsiteX20" fmla="*/ 2306993 w 4671148"/>
              <a:gd name="connsiteY20" fmla="*/ 2542582 h 3288092"/>
              <a:gd name="connsiteX21" fmla="*/ 2335574 w 4671148"/>
              <a:gd name="connsiteY21" fmla="*/ 2544025 h 3288092"/>
              <a:gd name="connsiteX22" fmla="*/ 3927081 w 4671148"/>
              <a:gd name="connsiteY22" fmla="*/ 952518 h 3288092"/>
              <a:gd name="connsiteX23" fmla="*/ 3855530 w 4671148"/>
              <a:gd name="connsiteY23" fmla="*/ 479253 h 3288092"/>
              <a:gd name="connsiteX24" fmla="*/ 3818147 w 4671148"/>
              <a:gd name="connsiteY24" fmla="*/ 377114 h 3288092"/>
              <a:gd name="connsiteX25" fmla="*/ 4265560 w 4671148"/>
              <a:gd name="connsiteY25" fmla="*/ 419377 h 3288092"/>
              <a:gd name="connsiteX26" fmla="*/ 625183 w 4671148"/>
              <a:gd name="connsiteY26" fmla="*/ 0 h 3288092"/>
              <a:gd name="connsiteX27" fmla="*/ 852039 w 4671148"/>
              <a:gd name="connsiteY27" fmla="*/ 369726 h 3288092"/>
              <a:gd name="connsiteX28" fmla="*/ 815618 w 4671148"/>
              <a:gd name="connsiteY28" fmla="*/ 479253 h 3288092"/>
              <a:gd name="connsiteX29" fmla="*/ 744067 w 4671148"/>
              <a:gd name="connsiteY29" fmla="*/ 952518 h 3288092"/>
              <a:gd name="connsiteX30" fmla="*/ 2172852 w 4671148"/>
              <a:gd name="connsiteY30" fmla="*/ 2535808 h 3288092"/>
              <a:gd name="connsiteX31" fmla="*/ 2177176 w 4671148"/>
              <a:gd name="connsiteY31" fmla="*/ 2536027 h 3288092"/>
              <a:gd name="connsiteX32" fmla="*/ 1966751 w 4671148"/>
              <a:gd name="connsiteY32" fmla="*/ 2910042 h 3288092"/>
              <a:gd name="connsiteX33" fmla="*/ 2174881 w 4671148"/>
              <a:gd name="connsiteY33" fmla="*/ 3279978 h 3288092"/>
              <a:gd name="connsiteX34" fmla="*/ 2096775 w 4671148"/>
              <a:gd name="connsiteY34" fmla="*/ 3276034 h 3288092"/>
              <a:gd name="connsiteX35" fmla="*/ 0 w 4671148"/>
              <a:gd name="connsiteY35" fmla="*/ 952518 h 3288092"/>
              <a:gd name="connsiteX36" fmla="*/ 183541 w 4671148"/>
              <a:gd name="connsiteY36" fmla="*/ 43407 h 3288092"/>
              <a:gd name="connsiteX37" fmla="*/ 203538 w 4671148"/>
              <a:gd name="connsiteY37" fmla="*/ 1896 h 3288092"/>
              <a:gd name="connsiteX38" fmla="*/ 625183 w 4671148"/>
              <a:gd name="connsiteY38"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770754 w 4671148"/>
              <a:gd name="connsiteY10" fmla="*/ 285426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3770754 w 4671148"/>
              <a:gd name="connsiteY14" fmla="*/ 285426 h 3288092"/>
              <a:gd name="connsiteX15" fmla="*/ 4265560 w 4671148"/>
              <a:gd name="connsiteY15" fmla="*/ 419377 h 3288092"/>
              <a:gd name="connsiteX16" fmla="*/ 4671148 w 4671148"/>
              <a:gd name="connsiteY16" fmla="*/ 952518 h 3288092"/>
              <a:gd name="connsiteX17" fmla="*/ 2335574 w 4671148"/>
              <a:gd name="connsiteY17" fmla="*/ 3288092 h 3288092"/>
              <a:gd name="connsiteX18" fmla="*/ 2312290 w 4671148"/>
              <a:gd name="connsiteY18" fmla="*/ 3286916 h 3288092"/>
              <a:gd name="connsiteX19" fmla="*/ 2100256 w 4671148"/>
              <a:gd name="connsiteY19" fmla="*/ 2910042 h 3288092"/>
              <a:gd name="connsiteX20" fmla="*/ 2306993 w 4671148"/>
              <a:gd name="connsiteY20" fmla="*/ 2542582 h 3288092"/>
              <a:gd name="connsiteX21" fmla="*/ 2335574 w 4671148"/>
              <a:gd name="connsiteY21" fmla="*/ 2544025 h 3288092"/>
              <a:gd name="connsiteX22" fmla="*/ 3927081 w 4671148"/>
              <a:gd name="connsiteY22" fmla="*/ 952518 h 3288092"/>
              <a:gd name="connsiteX23" fmla="*/ 3818147 w 4671148"/>
              <a:gd name="connsiteY23" fmla="*/ 377114 h 3288092"/>
              <a:gd name="connsiteX24" fmla="*/ 4265560 w 4671148"/>
              <a:gd name="connsiteY24" fmla="*/ 419377 h 3288092"/>
              <a:gd name="connsiteX25" fmla="*/ 625183 w 4671148"/>
              <a:gd name="connsiteY25" fmla="*/ 0 h 3288092"/>
              <a:gd name="connsiteX26" fmla="*/ 852039 w 4671148"/>
              <a:gd name="connsiteY26" fmla="*/ 369726 h 3288092"/>
              <a:gd name="connsiteX27" fmla="*/ 815618 w 4671148"/>
              <a:gd name="connsiteY27" fmla="*/ 479253 h 3288092"/>
              <a:gd name="connsiteX28" fmla="*/ 744067 w 4671148"/>
              <a:gd name="connsiteY28" fmla="*/ 952518 h 3288092"/>
              <a:gd name="connsiteX29" fmla="*/ 2172852 w 4671148"/>
              <a:gd name="connsiteY29" fmla="*/ 2535808 h 3288092"/>
              <a:gd name="connsiteX30" fmla="*/ 2177176 w 4671148"/>
              <a:gd name="connsiteY30" fmla="*/ 2536027 h 3288092"/>
              <a:gd name="connsiteX31" fmla="*/ 1966751 w 4671148"/>
              <a:gd name="connsiteY31" fmla="*/ 2910042 h 3288092"/>
              <a:gd name="connsiteX32" fmla="*/ 2174881 w 4671148"/>
              <a:gd name="connsiteY32" fmla="*/ 3279978 h 3288092"/>
              <a:gd name="connsiteX33" fmla="*/ 2096775 w 4671148"/>
              <a:gd name="connsiteY33" fmla="*/ 3276034 h 3288092"/>
              <a:gd name="connsiteX34" fmla="*/ 0 w 4671148"/>
              <a:gd name="connsiteY34" fmla="*/ 952518 h 3288092"/>
              <a:gd name="connsiteX35" fmla="*/ 183541 w 4671148"/>
              <a:gd name="connsiteY35" fmla="*/ 43407 h 3288092"/>
              <a:gd name="connsiteX36" fmla="*/ 203538 w 4671148"/>
              <a:gd name="connsiteY36" fmla="*/ 1896 h 3288092"/>
              <a:gd name="connsiteX37" fmla="*/ 625183 w 4671148"/>
              <a:gd name="connsiteY37"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818147 w 4671148"/>
              <a:gd name="connsiteY10" fmla="*/ 377114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4265560 w 4671148"/>
              <a:gd name="connsiteY14" fmla="*/ 419377 h 3288092"/>
              <a:gd name="connsiteX15" fmla="*/ 4671148 w 4671148"/>
              <a:gd name="connsiteY15" fmla="*/ 952518 h 3288092"/>
              <a:gd name="connsiteX16" fmla="*/ 2335574 w 4671148"/>
              <a:gd name="connsiteY16" fmla="*/ 3288092 h 3288092"/>
              <a:gd name="connsiteX17" fmla="*/ 2312290 w 4671148"/>
              <a:gd name="connsiteY17" fmla="*/ 3286916 h 3288092"/>
              <a:gd name="connsiteX18" fmla="*/ 2100256 w 4671148"/>
              <a:gd name="connsiteY18" fmla="*/ 2910042 h 3288092"/>
              <a:gd name="connsiteX19" fmla="*/ 2306993 w 4671148"/>
              <a:gd name="connsiteY19" fmla="*/ 2542582 h 3288092"/>
              <a:gd name="connsiteX20" fmla="*/ 2335574 w 4671148"/>
              <a:gd name="connsiteY20" fmla="*/ 2544025 h 3288092"/>
              <a:gd name="connsiteX21" fmla="*/ 3927081 w 4671148"/>
              <a:gd name="connsiteY21" fmla="*/ 952518 h 3288092"/>
              <a:gd name="connsiteX22" fmla="*/ 3818147 w 4671148"/>
              <a:gd name="connsiteY22" fmla="*/ 377114 h 3288092"/>
              <a:gd name="connsiteX23" fmla="*/ 4265560 w 4671148"/>
              <a:gd name="connsiteY23" fmla="*/ 419377 h 3288092"/>
              <a:gd name="connsiteX24" fmla="*/ 625183 w 4671148"/>
              <a:gd name="connsiteY24" fmla="*/ 0 h 3288092"/>
              <a:gd name="connsiteX25" fmla="*/ 852039 w 4671148"/>
              <a:gd name="connsiteY25" fmla="*/ 369726 h 3288092"/>
              <a:gd name="connsiteX26" fmla="*/ 815618 w 4671148"/>
              <a:gd name="connsiteY26" fmla="*/ 479253 h 3288092"/>
              <a:gd name="connsiteX27" fmla="*/ 744067 w 4671148"/>
              <a:gd name="connsiteY27" fmla="*/ 952518 h 3288092"/>
              <a:gd name="connsiteX28" fmla="*/ 2172852 w 4671148"/>
              <a:gd name="connsiteY28" fmla="*/ 2535808 h 3288092"/>
              <a:gd name="connsiteX29" fmla="*/ 2177176 w 4671148"/>
              <a:gd name="connsiteY29" fmla="*/ 2536027 h 3288092"/>
              <a:gd name="connsiteX30" fmla="*/ 1966751 w 4671148"/>
              <a:gd name="connsiteY30" fmla="*/ 2910042 h 3288092"/>
              <a:gd name="connsiteX31" fmla="*/ 2174881 w 4671148"/>
              <a:gd name="connsiteY31" fmla="*/ 3279978 h 3288092"/>
              <a:gd name="connsiteX32" fmla="*/ 2096775 w 4671148"/>
              <a:gd name="connsiteY32" fmla="*/ 3276034 h 3288092"/>
              <a:gd name="connsiteX33" fmla="*/ 0 w 4671148"/>
              <a:gd name="connsiteY33" fmla="*/ 952518 h 3288092"/>
              <a:gd name="connsiteX34" fmla="*/ 183541 w 4671148"/>
              <a:gd name="connsiteY34" fmla="*/ 43407 h 3288092"/>
              <a:gd name="connsiteX35" fmla="*/ 203538 w 4671148"/>
              <a:gd name="connsiteY35" fmla="*/ 1896 h 3288092"/>
              <a:gd name="connsiteX36" fmla="*/ 625183 w 4671148"/>
              <a:gd name="connsiteY36"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818147 w 4671148"/>
              <a:gd name="connsiteY10" fmla="*/ 377114 h 3288092"/>
              <a:gd name="connsiteX11" fmla="*/ 3779224 w 4671148"/>
              <a:gd name="connsiteY11" fmla="*/ 285726 h 3288092"/>
              <a:gd name="connsiteX12" fmla="*/ 3802013 w 4671148"/>
              <a:gd name="connsiteY12" fmla="*/ 333032 h 3288092"/>
              <a:gd name="connsiteX13" fmla="*/ 3818147 w 4671148"/>
              <a:gd name="connsiteY13" fmla="*/ 377114 h 3288092"/>
              <a:gd name="connsiteX14" fmla="*/ 4265560 w 4671148"/>
              <a:gd name="connsiteY14" fmla="*/ 419377 h 3288092"/>
              <a:gd name="connsiteX15" fmla="*/ 4671148 w 4671148"/>
              <a:gd name="connsiteY15" fmla="*/ 952518 h 3288092"/>
              <a:gd name="connsiteX16" fmla="*/ 2335574 w 4671148"/>
              <a:gd name="connsiteY16" fmla="*/ 3288092 h 3288092"/>
              <a:gd name="connsiteX17" fmla="*/ 2312290 w 4671148"/>
              <a:gd name="connsiteY17" fmla="*/ 3286916 h 3288092"/>
              <a:gd name="connsiteX18" fmla="*/ 2100256 w 4671148"/>
              <a:gd name="connsiteY18" fmla="*/ 2910042 h 3288092"/>
              <a:gd name="connsiteX19" fmla="*/ 2306993 w 4671148"/>
              <a:gd name="connsiteY19" fmla="*/ 2542582 h 3288092"/>
              <a:gd name="connsiteX20" fmla="*/ 2335574 w 4671148"/>
              <a:gd name="connsiteY20" fmla="*/ 2544025 h 3288092"/>
              <a:gd name="connsiteX21" fmla="*/ 3927081 w 4671148"/>
              <a:gd name="connsiteY21" fmla="*/ 952518 h 3288092"/>
              <a:gd name="connsiteX22" fmla="*/ 4265560 w 4671148"/>
              <a:gd name="connsiteY22" fmla="*/ 419377 h 3288092"/>
              <a:gd name="connsiteX23" fmla="*/ 625183 w 4671148"/>
              <a:gd name="connsiteY23" fmla="*/ 0 h 3288092"/>
              <a:gd name="connsiteX24" fmla="*/ 852039 w 4671148"/>
              <a:gd name="connsiteY24" fmla="*/ 369726 h 3288092"/>
              <a:gd name="connsiteX25" fmla="*/ 815618 w 4671148"/>
              <a:gd name="connsiteY25" fmla="*/ 479253 h 3288092"/>
              <a:gd name="connsiteX26" fmla="*/ 744067 w 4671148"/>
              <a:gd name="connsiteY26" fmla="*/ 952518 h 3288092"/>
              <a:gd name="connsiteX27" fmla="*/ 2172852 w 4671148"/>
              <a:gd name="connsiteY27" fmla="*/ 2535808 h 3288092"/>
              <a:gd name="connsiteX28" fmla="*/ 2177176 w 4671148"/>
              <a:gd name="connsiteY28" fmla="*/ 2536027 h 3288092"/>
              <a:gd name="connsiteX29" fmla="*/ 1966751 w 4671148"/>
              <a:gd name="connsiteY29" fmla="*/ 2910042 h 3288092"/>
              <a:gd name="connsiteX30" fmla="*/ 2174881 w 4671148"/>
              <a:gd name="connsiteY30" fmla="*/ 3279978 h 3288092"/>
              <a:gd name="connsiteX31" fmla="*/ 2096775 w 4671148"/>
              <a:gd name="connsiteY31" fmla="*/ 3276034 h 3288092"/>
              <a:gd name="connsiteX32" fmla="*/ 0 w 4671148"/>
              <a:gd name="connsiteY32" fmla="*/ 952518 h 3288092"/>
              <a:gd name="connsiteX33" fmla="*/ 183541 w 4671148"/>
              <a:gd name="connsiteY33" fmla="*/ 43407 h 3288092"/>
              <a:gd name="connsiteX34" fmla="*/ 203538 w 4671148"/>
              <a:gd name="connsiteY34" fmla="*/ 1896 h 3288092"/>
              <a:gd name="connsiteX35" fmla="*/ 625183 w 4671148"/>
              <a:gd name="connsiteY35"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3802013 w 4671148"/>
              <a:gd name="connsiteY10" fmla="*/ 333032 h 3288092"/>
              <a:gd name="connsiteX11" fmla="*/ 3779224 w 4671148"/>
              <a:gd name="connsiteY11" fmla="*/ 285726 h 3288092"/>
              <a:gd name="connsiteX12" fmla="*/ 3802013 w 4671148"/>
              <a:gd name="connsiteY12" fmla="*/ 333032 h 3288092"/>
              <a:gd name="connsiteX13" fmla="*/ 4265560 w 4671148"/>
              <a:gd name="connsiteY13" fmla="*/ 419377 h 3288092"/>
              <a:gd name="connsiteX14" fmla="*/ 4671148 w 4671148"/>
              <a:gd name="connsiteY14" fmla="*/ 952518 h 3288092"/>
              <a:gd name="connsiteX15" fmla="*/ 2335574 w 4671148"/>
              <a:gd name="connsiteY15" fmla="*/ 3288092 h 3288092"/>
              <a:gd name="connsiteX16" fmla="*/ 2312290 w 4671148"/>
              <a:gd name="connsiteY16" fmla="*/ 3286916 h 3288092"/>
              <a:gd name="connsiteX17" fmla="*/ 2100256 w 4671148"/>
              <a:gd name="connsiteY17" fmla="*/ 2910042 h 3288092"/>
              <a:gd name="connsiteX18" fmla="*/ 2306993 w 4671148"/>
              <a:gd name="connsiteY18" fmla="*/ 2542582 h 3288092"/>
              <a:gd name="connsiteX19" fmla="*/ 2335574 w 4671148"/>
              <a:gd name="connsiteY19" fmla="*/ 2544025 h 3288092"/>
              <a:gd name="connsiteX20" fmla="*/ 3927081 w 4671148"/>
              <a:gd name="connsiteY20" fmla="*/ 952518 h 3288092"/>
              <a:gd name="connsiteX21" fmla="*/ 4265560 w 4671148"/>
              <a:gd name="connsiteY21" fmla="*/ 419377 h 3288092"/>
              <a:gd name="connsiteX22" fmla="*/ 625183 w 4671148"/>
              <a:gd name="connsiteY22" fmla="*/ 0 h 3288092"/>
              <a:gd name="connsiteX23" fmla="*/ 852039 w 4671148"/>
              <a:gd name="connsiteY23" fmla="*/ 369726 h 3288092"/>
              <a:gd name="connsiteX24" fmla="*/ 815618 w 4671148"/>
              <a:gd name="connsiteY24" fmla="*/ 479253 h 3288092"/>
              <a:gd name="connsiteX25" fmla="*/ 744067 w 4671148"/>
              <a:gd name="connsiteY25" fmla="*/ 952518 h 3288092"/>
              <a:gd name="connsiteX26" fmla="*/ 2172852 w 4671148"/>
              <a:gd name="connsiteY26" fmla="*/ 2535808 h 3288092"/>
              <a:gd name="connsiteX27" fmla="*/ 2177176 w 4671148"/>
              <a:gd name="connsiteY27" fmla="*/ 2536027 h 3288092"/>
              <a:gd name="connsiteX28" fmla="*/ 1966751 w 4671148"/>
              <a:gd name="connsiteY28" fmla="*/ 2910042 h 3288092"/>
              <a:gd name="connsiteX29" fmla="*/ 2174881 w 4671148"/>
              <a:gd name="connsiteY29" fmla="*/ 3279978 h 3288092"/>
              <a:gd name="connsiteX30" fmla="*/ 2096775 w 4671148"/>
              <a:gd name="connsiteY30" fmla="*/ 3276034 h 3288092"/>
              <a:gd name="connsiteX31" fmla="*/ 0 w 4671148"/>
              <a:gd name="connsiteY31" fmla="*/ 952518 h 3288092"/>
              <a:gd name="connsiteX32" fmla="*/ 183541 w 4671148"/>
              <a:gd name="connsiteY32" fmla="*/ 43407 h 3288092"/>
              <a:gd name="connsiteX33" fmla="*/ 203538 w 4671148"/>
              <a:gd name="connsiteY33" fmla="*/ 1896 h 3288092"/>
              <a:gd name="connsiteX34" fmla="*/ 625183 w 4671148"/>
              <a:gd name="connsiteY34" fmla="*/ 0 h 3288092"/>
              <a:gd name="connsiteX0" fmla="*/ 2174881 w 4671148"/>
              <a:gd name="connsiteY0" fmla="*/ 3279978 h 3288092"/>
              <a:gd name="connsiteX1" fmla="*/ 2312290 w 4671148"/>
              <a:gd name="connsiteY1" fmla="*/ 3286916 h 3288092"/>
              <a:gd name="connsiteX2" fmla="*/ 2312951 w 4671148"/>
              <a:gd name="connsiteY2" fmla="*/ 3288092 h 3288092"/>
              <a:gd name="connsiteX3" fmla="*/ 2179446 w 4671148"/>
              <a:gd name="connsiteY3" fmla="*/ 3288092 h 3288092"/>
              <a:gd name="connsiteX4" fmla="*/ 2174881 w 4671148"/>
              <a:gd name="connsiteY4" fmla="*/ 3279978 h 3288092"/>
              <a:gd name="connsiteX5" fmla="*/ 2179446 w 4671148"/>
              <a:gd name="connsiteY5" fmla="*/ 2531992 h 3288092"/>
              <a:gd name="connsiteX6" fmla="*/ 2312951 w 4671148"/>
              <a:gd name="connsiteY6" fmla="*/ 2531992 h 3288092"/>
              <a:gd name="connsiteX7" fmla="*/ 2306993 w 4671148"/>
              <a:gd name="connsiteY7" fmla="*/ 2542582 h 3288092"/>
              <a:gd name="connsiteX8" fmla="*/ 2177176 w 4671148"/>
              <a:gd name="connsiteY8" fmla="*/ 2536027 h 3288092"/>
              <a:gd name="connsiteX9" fmla="*/ 2179446 w 4671148"/>
              <a:gd name="connsiteY9" fmla="*/ 2531992 h 3288092"/>
              <a:gd name="connsiteX10" fmla="*/ 4265560 w 4671148"/>
              <a:gd name="connsiteY10" fmla="*/ 419377 h 3288092"/>
              <a:gd name="connsiteX11" fmla="*/ 4671148 w 4671148"/>
              <a:gd name="connsiteY11" fmla="*/ 952518 h 3288092"/>
              <a:gd name="connsiteX12" fmla="*/ 2335574 w 4671148"/>
              <a:gd name="connsiteY12" fmla="*/ 3288092 h 3288092"/>
              <a:gd name="connsiteX13" fmla="*/ 2312290 w 4671148"/>
              <a:gd name="connsiteY13" fmla="*/ 3286916 h 3288092"/>
              <a:gd name="connsiteX14" fmla="*/ 2100256 w 4671148"/>
              <a:gd name="connsiteY14" fmla="*/ 2910042 h 3288092"/>
              <a:gd name="connsiteX15" fmla="*/ 2306993 w 4671148"/>
              <a:gd name="connsiteY15" fmla="*/ 2542582 h 3288092"/>
              <a:gd name="connsiteX16" fmla="*/ 2335574 w 4671148"/>
              <a:gd name="connsiteY16" fmla="*/ 2544025 h 3288092"/>
              <a:gd name="connsiteX17" fmla="*/ 3927081 w 4671148"/>
              <a:gd name="connsiteY17" fmla="*/ 952518 h 3288092"/>
              <a:gd name="connsiteX18" fmla="*/ 4265560 w 4671148"/>
              <a:gd name="connsiteY18" fmla="*/ 419377 h 3288092"/>
              <a:gd name="connsiteX19" fmla="*/ 625183 w 4671148"/>
              <a:gd name="connsiteY19" fmla="*/ 0 h 3288092"/>
              <a:gd name="connsiteX20" fmla="*/ 852039 w 4671148"/>
              <a:gd name="connsiteY20" fmla="*/ 369726 h 3288092"/>
              <a:gd name="connsiteX21" fmla="*/ 815618 w 4671148"/>
              <a:gd name="connsiteY21" fmla="*/ 479253 h 3288092"/>
              <a:gd name="connsiteX22" fmla="*/ 744067 w 4671148"/>
              <a:gd name="connsiteY22" fmla="*/ 952518 h 3288092"/>
              <a:gd name="connsiteX23" fmla="*/ 2172852 w 4671148"/>
              <a:gd name="connsiteY23" fmla="*/ 2535808 h 3288092"/>
              <a:gd name="connsiteX24" fmla="*/ 2177176 w 4671148"/>
              <a:gd name="connsiteY24" fmla="*/ 2536027 h 3288092"/>
              <a:gd name="connsiteX25" fmla="*/ 1966751 w 4671148"/>
              <a:gd name="connsiteY25" fmla="*/ 2910042 h 3288092"/>
              <a:gd name="connsiteX26" fmla="*/ 2174881 w 4671148"/>
              <a:gd name="connsiteY26" fmla="*/ 3279978 h 3288092"/>
              <a:gd name="connsiteX27" fmla="*/ 2096775 w 4671148"/>
              <a:gd name="connsiteY27" fmla="*/ 3276034 h 3288092"/>
              <a:gd name="connsiteX28" fmla="*/ 0 w 4671148"/>
              <a:gd name="connsiteY28" fmla="*/ 952518 h 3288092"/>
              <a:gd name="connsiteX29" fmla="*/ 183541 w 4671148"/>
              <a:gd name="connsiteY29" fmla="*/ 43407 h 3288092"/>
              <a:gd name="connsiteX30" fmla="*/ 203538 w 4671148"/>
              <a:gd name="connsiteY30" fmla="*/ 1896 h 3288092"/>
              <a:gd name="connsiteX31" fmla="*/ 625183 w 4671148"/>
              <a:gd name="connsiteY31" fmla="*/ 0 h 3288092"/>
              <a:gd name="connsiteX0" fmla="*/ 2174881 w 4735166"/>
              <a:gd name="connsiteY0" fmla="*/ 3279978 h 3288092"/>
              <a:gd name="connsiteX1" fmla="*/ 2312290 w 4735166"/>
              <a:gd name="connsiteY1" fmla="*/ 3286916 h 3288092"/>
              <a:gd name="connsiteX2" fmla="*/ 2312951 w 4735166"/>
              <a:gd name="connsiteY2" fmla="*/ 3288092 h 3288092"/>
              <a:gd name="connsiteX3" fmla="*/ 2179446 w 4735166"/>
              <a:gd name="connsiteY3" fmla="*/ 3288092 h 3288092"/>
              <a:gd name="connsiteX4" fmla="*/ 2174881 w 4735166"/>
              <a:gd name="connsiteY4" fmla="*/ 3279978 h 3288092"/>
              <a:gd name="connsiteX5" fmla="*/ 2179446 w 4735166"/>
              <a:gd name="connsiteY5" fmla="*/ 2531992 h 3288092"/>
              <a:gd name="connsiteX6" fmla="*/ 2312951 w 4735166"/>
              <a:gd name="connsiteY6" fmla="*/ 2531992 h 3288092"/>
              <a:gd name="connsiteX7" fmla="*/ 2306993 w 4735166"/>
              <a:gd name="connsiteY7" fmla="*/ 2542582 h 3288092"/>
              <a:gd name="connsiteX8" fmla="*/ 2177176 w 4735166"/>
              <a:gd name="connsiteY8" fmla="*/ 2536027 h 3288092"/>
              <a:gd name="connsiteX9" fmla="*/ 2179446 w 4735166"/>
              <a:gd name="connsiteY9" fmla="*/ 2531992 h 3288092"/>
              <a:gd name="connsiteX10" fmla="*/ 3927081 w 4735166"/>
              <a:gd name="connsiteY10" fmla="*/ 952518 h 3288092"/>
              <a:gd name="connsiteX11" fmla="*/ 4671148 w 4735166"/>
              <a:gd name="connsiteY11" fmla="*/ 952518 h 3288092"/>
              <a:gd name="connsiteX12" fmla="*/ 2335574 w 4735166"/>
              <a:gd name="connsiteY12" fmla="*/ 3288092 h 3288092"/>
              <a:gd name="connsiteX13" fmla="*/ 2312290 w 4735166"/>
              <a:gd name="connsiteY13" fmla="*/ 3286916 h 3288092"/>
              <a:gd name="connsiteX14" fmla="*/ 2100256 w 4735166"/>
              <a:gd name="connsiteY14" fmla="*/ 2910042 h 3288092"/>
              <a:gd name="connsiteX15" fmla="*/ 2306993 w 4735166"/>
              <a:gd name="connsiteY15" fmla="*/ 2542582 h 3288092"/>
              <a:gd name="connsiteX16" fmla="*/ 2335574 w 4735166"/>
              <a:gd name="connsiteY16" fmla="*/ 2544025 h 3288092"/>
              <a:gd name="connsiteX17" fmla="*/ 3927081 w 4735166"/>
              <a:gd name="connsiteY17" fmla="*/ 952518 h 3288092"/>
              <a:gd name="connsiteX18" fmla="*/ 625183 w 4735166"/>
              <a:gd name="connsiteY18" fmla="*/ 0 h 3288092"/>
              <a:gd name="connsiteX19" fmla="*/ 852039 w 4735166"/>
              <a:gd name="connsiteY19" fmla="*/ 369726 h 3288092"/>
              <a:gd name="connsiteX20" fmla="*/ 815618 w 4735166"/>
              <a:gd name="connsiteY20" fmla="*/ 479253 h 3288092"/>
              <a:gd name="connsiteX21" fmla="*/ 744067 w 4735166"/>
              <a:gd name="connsiteY21" fmla="*/ 952518 h 3288092"/>
              <a:gd name="connsiteX22" fmla="*/ 2172852 w 4735166"/>
              <a:gd name="connsiteY22" fmla="*/ 2535808 h 3288092"/>
              <a:gd name="connsiteX23" fmla="*/ 2177176 w 4735166"/>
              <a:gd name="connsiteY23" fmla="*/ 2536027 h 3288092"/>
              <a:gd name="connsiteX24" fmla="*/ 1966751 w 4735166"/>
              <a:gd name="connsiteY24" fmla="*/ 2910042 h 3288092"/>
              <a:gd name="connsiteX25" fmla="*/ 2174881 w 4735166"/>
              <a:gd name="connsiteY25" fmla="*/ 3279978 h 3288092"/>
              <a:gd name="connsiteX26" fmla="*/ 2096775 w 4735166"/>
              <a:gd name="connsiteY26" fmla="*/ 3276034 h 3288092"/>
              <a:gd name="connsiteX27" fmla="*/ 0 w 4735166"/>
              <a:gd name="connsiteY27" fmla="*/ 952518 h 3288092"/>
              <a:gd name="connsiteX28" fmla="*/ 183541 w 4735166"/>
              <a:gd name="connsiteY28" fmla="*/ 43407 h 3288092"/>
              <a:gd name="connsiteX29" fmla="*/ 203538 w 4735166"/>
              <a:gd name="connsiteY29" fmla="*/ 1896 h 3288092"/>
              <a:gd name="connsiteX30" fmla="*/ 625183 w 4735166"/>
              <a:gd name="connsiteY30" fmla="*/ 0 h 3288092"/>
              <a:gd name="connsiteX0" fmla="*/ 2174881 w 3927081"/>
              <a:gd name="connsiteY0" fmla="*/ 3279978 h 3288092"/>
              <a:gd name="connsiteX1" fmla="*/ 2312290 w 3927081"/>
              <a:gd name="connsiteY1" fmla="*/ 3286916 h 3288092"/>
              <a:gd name="connsiteX2" fmla="*/ 2312951 w 3927081"/>
              <a:gd name="connsiteY2" fmla="*/ 3288092 h 3288092"/>
              <a:gd name="connsiteX3" fmla="*/ 2179446 w 3927081"/>
              <a:gd name="connsiteY3" fmla="*/ 3288092 h 3288092"/>
              <a:gd name="connsiteX4" fmla="*/ 2174881 w 3927081"/>
              <a:gd name="connsiteY4" fmla="*/ 3279978 h 3288092"/>
              <a:gd name="connsiteX5" fmla="*/ 2179446 w 3927081"/>
              <a:gd name="connsiteY5" fmla="*/ 2531992 h 3288092"/>
              <a:gd name="connsiteX6" fmla="*/ 2312951 w 3927081"/>
              <a:gd name="connsiteY6" fmla="*/ 2531992 h 3288092"/>
              <a:gd name="connsiteX7" fmla="*/ 2306993 w 3927081"/>
              <a:gd name="connsiteY7" fmla="*/ 2542582 h 3288092"/>
              <a:gd name="connsiteX8" fmla="*/ 2177176 w 3927081"/>
              <a:gd name="connsiteY8" fmla="*/ 2536027 h 3288092"/>
              <a:gd name="connsiteX9" fmla="*/ 2179446 w 3927081"/>
              <a:gd name="connsiteY9" fmla="*/ 2531992 h 3288092"/>
              <a:gd name="connsiteX10" fmla="*/ 3927081 w 3927081"/>
              <a:gd name="connsiteY10" fmla="*/ 952518 h 3288092"/>
              <a:gd name="connsiteX11" fmla="*/ 2335574 w 3927081"/>
              <a:gd name="connsiteY11" fmla="*/ 3288092 h 3288092"/>
              <a:gd name="connsiteX12" fmla="*/ 2312290 w 3927081"/>
              <a:gd name="connsiteY12" fmla="*/ 3286916 h 3288092"/>
              <a:gd name="connsiteX13" fmla="*/ 2100256 w 3927081"/>
              <a:gd name="connsiteY13" fmla="*/ 2910042 h 3288092"/>
              <a:gd name="connsiteX14" fmla="*/ 2306993 w 3927081"/>
              <a:gd name="connsiteY14" fmla="*/ 2542582 h 3288092"/>
              <a:gd name="connsiteX15" fmla="*/ 2335574 w 3927081"/>
              <a:gd name="connsiteY15" fmla="*/ 2544025 h 3288092"/>
              <a:gd name="connsiteX16" fmla="*/ 3927081 w 3927081"/>
              <a:gd name="connsiteY16" fmla="*/ 952518 h 3288092"/>
              <a:gd name="connsiteX17" fmla="*/ 625183 w 3927081"/>
              <a:gd name="connsiteY17" fmla="*/ 0 h 3288092"/>
              <a:gd name="connsiteX18" fmla="*/ 852039 w 3927081"/>
              <a:gd name="connsiteY18" fmla="*/ 369726 h 3288092"/>
              <a:gd name="connsiteX19" fmla="*/ 815618 w 3927081"/>
              <a:gd name="connsiteY19" fmla="*/ 479253 h 3288092"/>
              <a:gd name="connsiteX20" fmla="*/ 744067 w 3927081"/>
              <a:gd name="connsiteY20" fmla="*/ 952518 h 3288092"/>
              <a:gd name="connsiteX21" fmla="*/ 2172852 w 3927081"/>
              <a:gd name="connsiteY21" fmla="*/ 2535808 h 3288092"/>
              <a:gd name="connsiteX22" fmla="*/ 2177176 w 3927081"/>
              <a:gd name="connsiteY22" fmla="*/ 2536027 h 3288092"/>
              <a:gd name="connsiteX23" fmla="*/ 1966751 w 3927081"/>
              <a:gd name="connsiteY23" fmla="*/ 2910042 h 3288092"/>
              <a:gd name="connsiteX24" fmla="*/ 2174881 w 3927081"/>
              <a:gd name="connsiteY24" fmla="*/ 3279978 h 3288092"/>
              <a:gd name="connsiteX25" fmla="*/ 2096775 w 3927081"/>
              <a:gd name="connsiteY25" fmla="*/ 3276034 h 3288092"/>
              <a:gd name="connsiteX26" fmla="*/ 0 w 3927081"/>
              <a:gd name="connsiteY26" fmla="*/ 952518 h 3288092"/>
              <a:gd name="connsiteX27" fmla="*/ 183541 w 3927081"/>
              <a:gd name="connsiteY27" fmla="*/ 43407 h 3288092"/>
              <a:gd name="connsiteX28" fmla="*/ 203538 w 3927081"/>
              <a:gd name="connsiteY28" fmla="*/ 1896 h 3288092"/>
              <a:gd name="connsiteX29" fmla="*/ 625183 w 3927081"/>
              <a:gd name="connsiteY29" fmla="*/ 0 h 3288092"/>
              <a:gd name="connsiteX0" fmla="*/ 2174881 w 2338823"/>
              <a:gd name="connsiteY0" fmla="*/ 3279978 h 3288092"/>
              <a:gd name="connsiteX1" fmla="*/ 2312290 w 2338823"/>
              <a:gd name="connsiteY1" fmla="*/ 3286916 h 3288092"/>
              <a:gd name="connsiteX2" fmla="*/ 2312951 w 2338823"/>
              <a:gd name="connsiteY2" fmla="*/ 3288092 h 3288092"/>
              <a:gd name="connsiteX3" fmla="*/ 2179446 w 2338823"/>
              <a:gd name="connsiteY3" fmla="*/ 3288092 h 3288092"/>
              <a:gd name="connsiteX4" fmla="*/ 2174881 w 2338823"/>
              <a:gd name="connsiteY4" fmla="*/ 3279978 h 3288092"/>
              <a:gd name="connsiteX5" fmla="*/ 2179446 w 2338823"/>
              <a:gd name="connsiteY5" fmla="*/ 2531992 h 3288092"/>
              <a:gd name="connsiteX6" fmla="*/ 2312951 w 2338823"/>
              <a:gd name="connsiteY6" fmla="*/ 2531992 h 3288092"/>
              <a:gd name="connsiteX7" fmla="*/ 2306993 w 2338823"/>
              <a:gd name="connsiteY7" fmla="*/ 2542582 h 3288092"/>
              <a:gd name="connsiteX8" fmla="*/ 2177176 w 2338823"/>
              <a:gd name="connsiteY8" fmla="*/ 2536027 h 3288092"/>
              <a:gd name="connsiteX9" fmla="*/ 2179446 w 2338823"/>
              <a:gd name="connsiteY9" fmla="*/ 2531992 h 3288092"/>
              <a:gd name="connsiteX10" fmla="*/ 2335574 w 2338823"/>
              <a:gd name="connsiteY10" fmla="*/ 2544025 h 3288092"/>
              <a:gd name="connsiteX11" fmla="*/ 2335574 w 2338823"/>
              <a:gd name="connsiteY11" fmla="*/ 3288092 h 3288092"/>
              <a:gd name="connsiteX12" fmla="*/ 2312290 w 2338823"/>
              <a:gd name="connsiteY12" fmla="*/ 3286916 h 3288092"/>
              <a:gd name="connsiteX13" fmla="*/ 2100256 w 2338823"/>
              <a:gd name="connsiteY13" fmla="*/ 2910042 h 3288092"/>
              <a:gd name="connsiteX14" fmla="*/ 2306993 w 2338823"/>
              <a:gd name="connsiteY14" fmla="*/ 2542582 h 3288092"/>
              <a:gd name="connsiteX15" fmla="*/ 2335574 w 2338823"/>
              <a:gd name="connsiteY15" fmla="*/ 2544025 h 3288092"/>
              <a:gd name="connsiteX16" fmla="*/ 625183 w 2338823"/>
              <a:gd name="connsiteY16" fmla="*/ 0 h 3288092"/>
              <a:gd name="connsiteX17" fmla="*/ 852039 w 2338823"/>
              <a:gd name="connsiteY17" fmla="*/ 369726 h 3288092"/>
              <a:gd name="connsiteX18" fmla="*/ 815618 w 2338823"/>
              <a:gd name="connsiteY18" fmla="*/ 479253 h 3288092"/>
              <a:gd name="connsiteX19" fmla="*/ 744067 w 2338823"/>
              <a:gd name="connsiteY19" fmla="*/ 952518 h 3288092"/>
              <a:gd name="connsiteX20" fmla="*/ 2172852 w 2338823"/>
              <a:gd name="connsiteY20" fmla="*/ 2535808 h 3288092"/>
              <a:gd name="connsiteX21" fmla="*/ 2177176 w 2338823"/>
              <a:gd name="connsiteY21" fmla="*/ 2536027 h 3288092"/>
              <a:gd name="connsiteX22" fmla="*/ 1966751 w 2338823"/>
              <a:gd name="connsiteY22" fmla="*/ 2910042 h 3288092"/>
              <a:gd name="connsiteX23" fmla="*/ 2174881 w 2338823"/>
              <a:gd name="connsiteY23" fmla="*/ 3279978 h 3288092"/>
              <a:gd name="connsiteX24" fmla="*/ 2096775 w 2338823"/>
              <a:gd name="connsiteY24" fmla="*/ 3276034 h 3288092"/>
              <a:gd name="connsiteX25" fmla="*/ 0 w 2338823"/>
              <a:gd name="connsiteY25" fmla="*/ 952518 h 3288092"/>
              <a:gd name="connsiteX26" fmla="*/ 183541 w 2338823"/>
              <a:gd name="connsiteY26" fmla="*/ 43407 h 3288092"/>
              <a:gd name="connsiteX27" fmla="*/ 203538 w 2338823"/>
              <a:gd name="connsiteY27" fmla="*/ 1896 h 3288092"/>
              <a:gd name="connsiteX28" fmla="*/ 625183 w 2338823"/>
              <a:gd name="connsiteY28" fmla="*/ 0 h 3288092"/>
              <a:gd name="connsiteX0" fmla="*/ 2174881 w 2335574"/>
              <a:gd name="connsiteY0" fmla="*/ 3279978 h 3288092"/>
              <a:gd name="connsiteX1" fmla="*/ 2312290 w 2335574"/>
              <a:gd name="connsiteY1" fmla="*/ 3286916 h 3288092"/>
              <a:gd name="connsiteX2" fmla="*/ 2312951 w 2335574"/>
              <a:gd name="connsiteY2" fmla="*/ 3288092 h 3288092"/>
              <a:gd name="connsiteX3" fmla="*/ 2179446 w 2335574"/>
              <a:gd name="connsiteY3" fmla="*/ 3288092 h 3288092"/>
              <a:gd name="connsiteX4" fmla="*/ 2174881 w 2335574"/>
              <a:gd name="connsiteY4" fmla="*/ 3279978 h 3288092"/>
              <a:gd name="connsiteX5" fmla="*/ 2179446 w 2335574"/>
              <a:gd name="connsiteY5" fmla="*/ 2531992 h 3288092"/>
              <a:gd name="connsiteX6" fmla="*/ 2312951 w 2335574"/>
              <a:gd name="connsiteY6" fmla="*/ 2531992 h 3288092"/>
              <a:gd name="connsiteX7" fmla="*/ 2306993 w 2335574"/>
              <a:gd name="connsiteY7" fmla="*/ 2542582 h 3288092"/>
              <a:gd name="connsiteX8" fmla="*/ 2177176 w 2335574"/>
              <a:gd name="connsiteY8" fmla="*/ 2536027 h 3288092"/>
              <a:gd name="connsiteX9" fmla="*/ 2179446 w 2335574"/>
              <a:gd name="connsiteY9" fmla="*/ 2531992 h 3288092"/>
              <a:gd name="connsiteX10" fmla="*/ 2306993 w 2335574"/>
              <a:gd name="connsiteY10" fmla="*/ 2542582 h 3288092"/>
              <a:gd name="connsiteX11" fmla="*/ 2335574 w 2335574"/>
              <a:gd name="connsiteY11" fmla="*/ 3288092 h 3288092"/>
              <a:gd name="connsiteX12" fmla="*/ 2312290 w 2335574"/>
              <a:gd name="connsiteY12" fmla="*/ 3286916 h 3288092"/>
              <a:gd name="connsiteX13" fmla="*/ 2100256 w 2335574"/>
              <a:gd name="connsiteY13" fmla="*/ 2910042 h 3288092"/>
              <a:gd name="connsiteX14" fmla="*/ 2306993 w 2335574"/>
              <a:gd name="connsiteY14" fmla="*/ 2542582 h 3288092"/>
              <a:gd name="connsiteX15" fmla="*/ 625183 w 2335574"/>
              <a:gd name="connsiteY15" fmla="*/ 0 h 3288092"/>
              <a:gd name="connsiteX16" fmla="*/ 852039 w 2335574"/>
              <a:gd name="connsiteY16" fmla="*/ 369726 h 3288092"/>
              <a:gd name="connsiteX17" fmla="*/ 815618 w 2335574"/>
              <a:gd name="connsiteY17" fmla="*/ 479253 h 3288092"/>
              <a:gd name="connsiteX18" fmla="*/ 744067 w 2335574"/>
              <a:gd name="connsiteY18" fmla="*/ 952518 h 3288092"/>
              <a:gd name="connsiteX19" fmla="*/ 2172852 w 2335574"/>
              <a:gd name="connsiteY19" fmla="*/ 2535808 h 3288092"/>
              <a:gd name="connsiteX20" fmla="*/ 2177176 w 2335574"/>
              <a:gd name="connsiteY20" fmla="*/ 2536027 h 3288092"/>
              <a:gd name="connsiteX21" fmla="*/ 1966751 w 2335574"/>
              <a:gd name="connsiteY21" fmla="*/ 2910042 h 3288092"/>
              <a:gd name="connsiteX22" fmla="*/ 2174881 w 2335574"/>
              <a:gd name="connsiteY22" fmla="*/ 3279978 h 3288092"/>
              <a:gd name="connsiteX23" fmla="*/ 2096775 w 2335574"/>
              <a:gd name="connsiteY23" fmla="*/ 3276034 h 3288092"/>
              <a:gd name="connsiteX24" fmla="*/ 0 w 2335574"/>
              <a:gd name="connsiteY24" fmla="*/ 952518 h 3288092"/>
              <a:gd name="connsiteX25" fmla="*/ 183541 w 2335574"/>
              <a:gd name="connsiteY25" fmla="*/ 43407 h 3288092"/>
              <a:gd name="connsiteX26" fmla="*/ 203538 w 2335574"/>
              <a:gd name="connsiteY26" fmla="*/ 1896 h 3288092"/>
              <a:gd name="connsiteX27" fmla="*/ 625183 w 2335574"/>
              <a:gd name="connsiteY27" fmla="*/ 0 h 3288092"/>
              <a:gd name="connsiteX0" fmla="*/ 2174881 w 2335574"/>
              <a:gd name="connsiteY0" fmla="*/ 3279978 h 3288092"/>
              <a:gd name="connsiteX1" fmla="*/ 2312290 w 2335574"/>
              <a:gd name="connsiteY1" fmla="*/ 3286916 h 3288092"/>
              <a:gd name="connsiteX2" fmla="*/ 2312951 w 2335574"/>
              <a:gd name="connsiteY2" fmla="*/ 3288092 h 3288092"/>
              <a:gd name="connsiteX3" fmla="*/ 2179446 w 2335574"/>
              <a:gd name="connsiteY3" fmla="*/ 3288092 h 3288092"/>
              <a:gd name="connsiteX4" fmla="*/ 2174881 w 2335574"/>
              <a:gd name="connsiteY4" fmla="*/ 3279978 h 3288092"/>
              <a:gd name="connsiteX5" fmla="*/ 2179446 w 2335574"/>
              <a:gd name="connsiteY5" fmla="*/ 2531992 h 3288092"/>
              <a:gd name="connsiteX6" fmla="*/ 2312951 w 2335574"/>
              <a:gd name="connsiteY6" fmla="*/ 2531992 h 3288092"/>
              <a:gd name="connsiteX7" fmla="*/ 2306993 w 2335574"/>
              <a:gd name="connsiteY7" fmla="*/ 2542582 h 3288092"/>
              <a:gd name="connsiteX8" fmla="*/ 2177176 w 2335574"/>
              <a:gd name="connsiteY8" fmla="*/ 2536027 h 3288092"/>
              <a:gd name="connsiteX9" fmla="*/ 2179446 w 2335574"/>
              <a:gd name="connsiteY9" fmla="*/ 2531992 h 3288092"/>
              <a:gd name="connsiteX10" fmla="*/ 2100256 w 2335574"/>
              <a:gd name="connsiteY10" fmla="*/ 2910042 h 3288092"/>
              <a:gd name="connsiteX11" fmla="*/ 2335574 w 2335574"/>
              <a:gd name="connsiteY11" fmla="*/ 3288092 h 3288092"/>
              <a:gd name="connsiteX12" fmla="*/ 2312290 w 2335574"/>
              <a:gd name="connsiteY12" fmla="*/ 3286916 h 3288092"/>
              <a:gd name="connsiteX13" fmla="*/ 2100256 w 2335574"/>
              <a:gd name="connsiteY13" fmla="*/ 2910042 h 3288092"/>
              <a:gd name="connsiteX14" fmla="*/ 625183 w 2335574"/>
              <a:gd name="connsiteY14" fmla="*/ 0 h 3288092"/>
              <a:gd name="connsiteX15" fmla="*/ 852039 w 2335574"/>
              <a:gd name="connsiteY15" fmla="*/ 369726 h 3288092"/>
              <a:gd name="connsiteX16" fmla="*/ 815618 w 2335574"/>
              <a:gd name="connsiteY16" fmla="*/ 479253 h 3288092"/>
              <a:gd name="connsiteX17" fmla="*/ 744067 w 2335574"/>
              <a:gd name="connsiteY17" fmla="*/ 952518 h 3288092"/>
              <a:gd name="connsiteX18" fmla="*/ 2172852 w 2335574"/>
              <a:gd name="connsiteY18" fmla="*/ 2535808 h 3288092"/>
              <a:gd name="connsiteX19" fmla="*/ 2177176 w 2335574"/>
              <a:gd name="connsiteY19" fmla="*/ 2536027 h 3288092"/>
              <a:gd name="connsiteX20" fmla="*/ 1966751 w 2335574"/>
              <a:gd name="connsiteY20" fmla="*/ 2910042 h 3288092"/>
              <a:gd name="connsiteX21" fmla="*/ 2174881 w 2335574"/>
              <a:gd name="connsiteY21" fmla="*/ 3279978 h 3288092"/>
              <a:gd name="connsiteX22" fmla="*/ 2096775 w 2335574"/>
              <a:gd name="connsiteY22" fmla="*/ 3276034 h 3288092"/>
              <a:gd name="connsiteX23" fmla="*/ 0 w 2335574"/>
              <a:gd name="connsiteY23" fmla="*/ 952518 h 3288092"/>
              <a:gd name="connsiteX24" fmla="*/ 183541 w 2335574"/>
              <a:gd name="connsiteY24" fmla="*/ 43407 h 3288092"/>
              <a:gd name="connsiteX25" fmla="*/ 203538 w 2335574"/>
              <a:gd name="connsiteY25" fmla="*/ 1896 h 3288092"/>
              <a:gd name="connsiteX26" fmla="*/ 625183 w 2335574"/>
              <a:gd name="connsiteY26" fmla="*/ 0 h 3288092"/>
              <a:gd name="connsiteX0" fmla="*/ 2174881 w 2335574"/>
              <a:gd name="connsiteY0" fmla="*/ 3279978 h 3288092"/>
              <a:gd name="connsiteX1" fmla="*/ 2312290 w 2335574"/>
              <a:gd name="connsiteY1" fmla="*/ 3286916 h 3288092"/>
              <a:gd name="connsiteX2" fmla="*/ 2312951 w 2335574"/>
              <a:gd name="connsiteY2" fmla="*/ 3288092 h 3288092"/>
              <a:gd name="connsiteX3" fmla="*/ 2179446 w 2335574"/>
              <a:gd name="connsiteY3" fmla="*/ 3288092 h 3288092"/>
              <a:gd name="connsiteX4" fmla="*/ 2174881 w 2335574"/>
              <a:gd name="connsiteY4" fmla="*/ 3279978 h 3288092"/>
              <a:gd name="connsiteX5" fmla="*/ 2179446 w 2335574"/>
              <a:gd name="connsiteY5" fmla="*/ 2531992 h 3288092"/>
              <a:gd name="connsiteX6" fmla="*/ 2312951 w 2335574"/>
              <a:gd name="connsiteY6" fmla="*/ 2531992 h 3288092"/>
              <a:gd name="connsiteX7" fmla="*/ 2177176 w 2335574"/>
              <a:gd name="connsiteY7" fmla="*/ 2536027 h 3288092"/>
              <a:gd name="connsiteX8" fmla="*/ 2179446 w 2335574"/>
              <a:gd name="connsiteY8" fmla="*/ 2531992 h 3288092"/>
              <a:gd name="connsiteX9" fmla="*/ 2100256 w 2335574"/>
              <a:gd name="connsiteY9" fmla="*/ 2910042 h 3288092"/>
              <a:gd name="connsiteX10" fmla="*/ 2335574 w 2335574"/>
              <a:gd name="connsiteY10" fmla="*/ 3288092 h 3288092"/>
              <a:gd name="connsiteX11" fmla="*/ 2312290 w 2335574"/>
              <a:gd name="connsiteY11" fmla="*/ 3286916 h 3288092"/>
              <a:gd name="connsiteX12" fmla="*/ 2100256 w 2335574"/>
              <a:gd name="connsiteY12" fmla="*/ 2910042 h 3288092"/>
              <a:gd name="connsiteX13" fmla="*/ 625183 w 2335574"/>
              <a:gd name="connsiteY13" fmla="*/ 0 h 3288092"/>
              <a:gd name="connsiteX14" fmla="*/ 852039 w 2335574"/>
              <a:gd name="connsiteY14" fmla="*/ 369726 h 3288092"/>
              <a:gd name="connsiteX15" fmla="*/ 815618 w 2335574"/>
              <a:gd name="connsiteY15" fmla="*/ 479253 h 3288092"/>
              <a:gd name="connsiteX16" fmla="*/ 744067 w 2335574"/>
              <a:gd name="connsiteY16" fmla="*/ 952518 h 3288092"/>
              <a:gd name="connsiteX17" fmla="*/ 2172852 w 2335574"/>
              <a:gd name="connsiteY17" fmla="*/ 2535808 h 3288092"/>
              <a:gd name="connsiteX18" fmla="*/ 2177176 w 2335574"/>
              <a:gd name="connsiteY18" fmla="*/ 2536027 h 3288092"/>
              <a:gd name="connsiteX19" fmla="*/ 1966751 w 2335574"/>
              <a:gd name="connsiteY19" fmla="*/ 2910042 h 3288092"/>
              <a:gd name="connsiteX20" fmla="*/ 2174881 w 2335574"/>
              <a:gd name="connsiteY20" fmla="*/ 3279978 h 3288092"/>
              <a:gd name="connsiteX21" fmla="*/ 2096775 w 2335574"/>
              <a:gd name="connsiteY21" fmla="*/ 3276034 h 3288092"/>
              <a:gd name="connsiteX22" fmla="*/ 0 w 2335574"/>
              <a:gd name="connsiteY22" fmla="*/ 952518 h 3288092"/>
              <a:gd name="connsiteX23" fmla="*/ 183541 w 2335574"/>
              <a:gd name="connsiteY23" fmla="*/ 43407 h 3288092"/>
              <a:gd name="connsiteX24" fmla="*/ 203538 w 2335574"/>
              <a:gd name="connsiteY24" fmla="*/ 1896 h 3288092"/>
              <a:gd name="connsiteX25" fmla="*/ 625183 w 2335574"/>
              <a:gd name="connsiteY25" fmla="*/ 0 h 3288092"/>
              <a:gd name="connsiteX0" fmla="*/ 2174881 w 2335574"/>
              <a:gd name="connsiteY0" fmla="*/ 3279978 h 3288092"/>
              <a:gd name="connsiteX1" fmla="*/ 2312290 w 2335574"/>
              <a:gd name="connsiteY1" fmla="*/ 3286916 h 3288092"/>
              <a:gd name="connsiteX2" fmla="*/ 2312951 w 2335574"/>
              <a:gd name="connsiteY2" fmla="*/ 3288092 h 3288092"/>
              <a:gd name="connsiteX3" fmla="*/ 2179446 w 2335574"/>
              <a:gd name="connsiteY3" fmla="*/ 3288092 h 3288092"/>
              <a:gd name="connsiteX4" fmla="*/ 2174881 w 2335574"/>
              <a:gd name="connsiteY4" fmla="*/ 3279978 h 3288092"/>
              <a:gd name="connsiteX5" fmla="*/ 2179446 w 2335574"/>
              <a:gd name="connsiteY5" fmla="*/ 2531992 h 3288092"/>
              <a:gd name="connsiteX6" fmla="*/ 2177176 w 2335574"/>
              <a:gd name="connsiteY6" fmla="*/ 2536027 h 3288092"/>
              <a:gd name="connsiteX7" fmla="*/ 2179446 w 2335574"/>
              <a:gd name="connsiteY7" fmla="*/ 2531992 h 3288092"/>
              <a:gd name="connsiteX8" fmla="*/ 2100256 w 2335574"/>
              <a:gd name="connsiteY8" fmla="*/ 2910042 h 3288092"/>
              <a:gd name="connsiteX9" fmla="*/ 2335574 w 2335574"/>
              <a:gd name="connsiteY9" fmla="*/ 3288092 h 3288092"/>
              <a:gd name="connsiteX10" fmla="*/ 2312290 w 2335574"/>
              <a:gd name="connsiteY10" fmla="*/ 3286916 h 3288092"/>
              <a:gd name="connsiteX11" fmla="*/ 2100256 w 2335574"/>
              <a:gd name="connsiteY11" fmla="*/ 2910042 h 3288092"/>
              <a:gd name="connsiteX12" fmla="*/ 625183 w 2335574"/>
              <a:gd name="connsiteY12" fmla="*/ 0 h 3288092"/>
              <a:gd name="connsiteX13" fmla="*/ 852039 w 2335574"/>
              <a:gd name="connsiteY13" fmla="*/ 369726 h 3288092"/>
              <a:gd name="connsiteX14" fmla="*/ 815618 w 2335574"/>
              <a:gd name="connsiteY14" fmla="*/ 479253 h 3288092"/>
              <a:gd name="connsiteX15" fmla="*/ 744067 w 2335574"/>
              <a:gd name="connsiteY15" fmla="*/ 952518 h 3288092"/>
              <a:gd name="connsiteX16" fmla="*/ 2172852 w 2335574"/>
              <a:gd name="connsiteY16" fmla="*/ 2535808 h 3288092"/>
              <a:gd name="connsiteX17" fmla="*/ 2177176 w 2335574"/>
              <a:gd name="connsiteY17" fmla="*/ 2536027 h 3288092"/>
              <a:gd name="connsiteX18" fmla="*/ 1966751 w 2335574"/>
              <a:gd name="connsiteY18" fmla="*/ 2910042 h 3288092"/>
              <a:gd name="connsiteX19" fmla="*/ 2174881 w 2335574"/>
              <a:gd name="connsiteY19" fmla="*/ 3279978 h 3288092"/>
              <a:gd name="connsiteX20" fmla="*/ 2096775 w 2335574"/>
              <a:gd name="connsiteY20" fmla="*/ 3276034 h 3288092"/>
              <a:gd name="connsiteX21" fmla="*/ 0 w 2335574"/>
              <a:gd name="connsiteY21" fmla="*/ 952518 h 3288092"/>
              <a:gd name="connsiteX22" fmla="*/ 183541 w 2335574"/>
              <a:gd name="connsiteY22" fmla="*/ 43407 h 3288092"/>
              <a:gd name="connsiteX23" fmla="*/ 203538 w 2335574"/>
              <a:gd name="connsiteY23" fmla="*/ 1896 h 3288092"/>
              <a:gd name="connsiteX24" fmla="*/ 625183 w 2335574"/>
              <a:gd name="connsiteY24" fmla="*/ 0 h 3288092"/>
              <a:gd name="connsiteX0" fmla="*/ 2174881 w 2335574"/>
              <a:gd name="connsiteY0" fmla="*/ 3279978 h 3288092"/>
              <a:gd name="connsiteX1" fmla="*/ 2312290 w 2335574"/>
              <a:gd name="connsiteY1" fmla="*/ 3286916 h 3288092"/>
              <a:gd name="connsiteX2" fmla="*/ 2312951 w 2335574"/>
              <a:gd name="connsiteY2" fmla="*/ 3288092 h 3288092"/>
              <a:gd name="connsiteX3" fmla="*/ 2179446 w 2335574"/>
              <a:gd name="connsiteY3" fmla="*/ 3288092 h 3288092"/>
              <a:gd name="connsiteX4" fmla="*/ 2174881 w 2335574"/>
              <a:gd name="connsiteY4" fmla="*/ 3279978 h 3288092"/>
              <a:gd name="connsiteX5" fmla="*/ 2179446 w 2335574"/>
              <a:gd name="connsiteY5" fmla="*/ 2531992 h 3288092"/>
              <a:gd name="connsiteX6" fmla="*/ 2177176 w 2335574"/>
              <a:gd name="connsiteY6" fmla="*/ 2536027 h 3288092"/>
              <a:gd name="connsiteX7" fmla="*/ 2179446 w 2335574"/>
              <a:gd name="connsiteY7" fmla="*/ 2531992 h 3288092"/>
              <a:gd name="connsiteX8" fmla="*/ 2312290 w 2335574"/>
              <a:gd name="connsiteY8" fmla="*/ 3286916 h 3288092"/>
              <a:gd name="connsiteX9" fmla="*/ 2335574 w 2335574"/>
              <a:gd name="connsiteY9" fmla="*/ 3288092 h 3288092"/>
              <a:gd name="connsiteX10" fmla="*/ 2312290 w 2335574"/>
              <a:gd name="connsiteY10" fmla="*/ 3286916 h 3288092"/>
              <a:gd name="connsiteX11" fmla="*/ 625183 w 2335574"/>
              <a:gd name="connsiteY11" fmla="*/ 0 h 3288092"/>
              <a:gd name="connsiteX12" fmla="*/ 852039 w 2335574"/>
              <a:gd name="connsiteY12" fmla="*/ 369726 h 3288092"/>
              <a:gd name="connsiteX13" fmla="*/ 815618 w 2335574"/>
              <a:gd name="connsiteY13" fmla="*/ 479253 h 3288092"/>
              <a:gd name="connsiteX14" fmla="*/ 744067 w 2335574"/>
              <a:gd name="connsiteY14" fmla="*/ 952518 h 3288092"/>
              <a:gd name="connsiteX15" fmla="*/ 2172852 w 2335574"/>
              <a:gd name="connsiteY15" fmla="*/ 2535808 h 3288092"/>
              <a:gd name="connsiteX16" fmla="*/ 2177176 w 2335574"/>
              <a:gd name="connsiteY16" fmla="*/ 2536027 h 3288092"/>
              <a:gd name="connsiteX17" fmla="*/ 1966751 w 2335574"/>
              <a:gd name="connsiteY17" fmla="*/ 2910042 h 3288092"/>
              <a:gd name="connsiteX18" fmla="*/ 2174881 w 2335574"/>
              <a:gd name="connsiteY18" fmla="*/ 3279978 h 3288092"/>
              <a:gd name="connsiteX19" fmla="*/ 2096775 w 2335574"/>
              <a:gd name="connsiteY19" fmla="*/ 3276034 h 3288092"/>
              <a:gd name="connsiteX20" fmla="*/ 0 w 2335574"/>
              <a:gd name="connsiteY20" fmla="*/ 952518 h 3288092"/>
              <a:gd name="connsiteX21" fmla="*/ 183541 w 2335574"/>
              <a:gd name="connsiteY21" fmla="*/ 43407 h 3288092"/>
              <a:gd name="connsiteX22" fmla="*/ 203538 w 2335574"/>
              <a:gd name="connsiteY22" fmla="*/ 1896 h 3288092"/>
              <a:gd name="connsiteX23" fmla="*/ 625183 w 2335574"/>
              <a:gd name="connsiteY23" fmla="*/ 0 h 3288092"/>
              <a:gd name="connsiteX0" fmla="*/ 2174881 w 2312951"/>
              <a:gd name="connsiteY0" fmla="*/ 3279978 h 3288092"/>
              <a:gd name="connsiteX1" fmla="*/ 2312290 w 2312951"/>
              <a:gd name="connsiteY1" fmla="*/ 3286916 h 3288092"/>
              <a:gd name="connsiteX2" fmla="*/ 2312951 w 2312951"/>
              <a:gd name="connsiteY2" fmla="*/ 3288092 h 3288092"/>
              <a:gd name="connsiteX3" fmla="*/ 2179446 w 2312951"/>
              <a:gd name="connsiteY3" fmla="*/ 3288092 h 3288092"/>
              <a:gd name="connsiteX4" fmla="*/ 2174881 w 2312951"/>
              <a:gd name="connsiteY4" fmla="*/ 3279978 h 3288092"/>
              <a:gd name="connsiteX5" fmla="*/ 2179446 w 2312951"/>
              <a:gd name="connsiteY5" fmla="*/ 2531992 h 3288092"/>
              <a:gd name="connsiteX6" fmla="*/ 2177176 w 2312951"/>
              <a:gd name="connsiteY6" fmla="*/ 2536027 h 3288092"/>
              <a:gd name="connsiteX7" fmla="*/ 2179446 w 2312951"/>
              <a:gd name="connsiteY7" fmla="*/ 2531992 h 3288092"/>
              <a:gd name="connsiteX8" fmla="*/ 625183 w 2312951"/>
              <a:gd name="connsiteY8" fmla="*/ 0 h 3288092"/>
              <a:gd name="connsiteX9" fmla="*/ 852039 w 2312951"/>
              <a:gd name="connsiteY9" fmla="*/ 369726 h 3288092"/>
              <a:gd name="connsiteX10" fmla="*/ 815618 w 2312951"/>
              <a:gd name="connsiteY10" fmla="*/ 479253 h 3288092"/>
              <a:gd name="connsiteX11" fmla="*/ 744067 w 2312951"/>
              <a:gd name="connsiteY11" fmla="*/ 952518 h 3288092"/>
              <a:gd name="connsiteX12" fmla="*/ 2172852 w 2312951"/>
              <a:gd name="connsiteY12" fmla="*/ 2535808 h 3288092"/>
              <a:gd name="connsiteX13" fmla="*/ 2177176 w 2312951"/>
              <a:gd name="connsiteY13" fmla="*/ 2536027 h 3288092"/>
              <a:gd name="connsiteX14" fmla="*/ 1966751 w 2312951"/>
              <a:gd name="connsiteY14" fmla="*/ 2910042 h 3288092"/>
              <a:gd name="connsiteX15" fmla="*/ 2174881 w 2312951"/>
              <a:gd name="connsiteY15" fmla="*/ 3279978 h 3288092"/>
              <a:gd name="connsiteX16" fmla="*/ 2096775 w 2312951"/>
              <a:gd name="connsiteY16" fmla="*/ 3276034 h 3288092"/>
              <a:gd name="connsiteX17" fmla="*/ 0 w 2312951"/>
              <a:gd name="connsiteY17" fmla="*/ 952518 h 3288092"/>
              <a:gd name="connsiteX18" fmla="*/ 183541 w 2312951"/>
              <a:gd name="connsiteY18" fmla="*/ 43407 h 3288092"/>
              <a:gd name="connsiteX19" fmla="*/ 203538 w 2312951"/>
              <a:gd name="connsiteY19" fmla="*/ 1896 h 3288092"/>
              <a:gd name="connsiteX20" fmla="*/ 625183 w 2312951"/>
              <a:gd name="connsiteY20" fmla="*/ 0 h 3288092"/>
              <a:gd name="connsiteX0" fmla="*/ 2174881 w 2312290"/>
              <a:gd name="connsiteY0" fmla="*/ 3279978 h 3288092"/>
              <a:gd name="connsiteX1" fmla="*/ 2312290 w 2312290"/>
              <a:gd name="connsiteY1" fmla="*/ 3286916 h 3288092"/>
              <a:gd name="connsiteX2" fmla="*/ 2179446 w 2312290"/>
              <a:gd name="connsiteY2" fmla="*/ 3288092 h 3288092"/>
              <a:gd name="connsiteX3" fmla="*/ 2174881 w 2312290"/>
              <a:gd name="connsiteY3" fmla="*/ 3279978 h 3288092"/>
              <a:gd name="connsiteX4" fmla="*/ 2179446 w 2312290"/>
              <a:gd name="connsiteY4" fmla="*/ 2531992 h 3288092"/>
              <a:gd name="connsiteX5" fmla="*/ 2177176 w 2312290"/>
              <a:gd name="connsiteY5" fmla="*/ 2536027 h 3288092"/>
              <a:gd name="connsiteX6" fmla="*/ 2179446 w 2312290"/>
              <a:gd name="connsiteY6" fmla="*/ 2531992 h 3288092"/>
              <a:gd name="connsiteX7" fmla="*/ 625183 w 2312290"/>
              <a:gd name="connsiteY7" fmla="*/ 0 h 3288092"/>
              <a:gd name="connsiteX8" fmla="*/ 852039 w 2312290"/>
              <a:gd name="connsiteY8" fmla="*/ 369726 h 3288092"/>
              <a:gd name="connsiteX9" fmla="*/ 815618 w 2312290"/>
              <a:gd name="connsiteY9" fmla="*/ 479253 h 3288092"/>
              <a:gd name="connsiteX10" fmla="*/ 744067 w 2312290"/>
              <a:gd name="connsiteY10" fmla="*/ 952518 h 3288092"/>
              <a:gd name="connsiteX11" fmla="*/ 2172852 w 2312290"/>
              <a:gd name="connsiteY11" fmla="*/ 2535808 h 3288092"/>
              <a:gd name="connsiteX12" fmla="*/ 2177176 w 2312290"/>
              <a:gd name="connsiteY12" fmla="*/ 2536027 h 3288092"/>
              <a:gd name="connsiteX13" fmla="*/ 1966751 w 2312290"/>
              <a:gd name="connsiteY13" fmla="*/ 2910042 h 3288092"/>
              <a:gd name="connsiteX14" fmla="*/ 2174881 w 2312290"/>
              <a:gd name="connsiteY14" fmla="*/ 3279978 h 3288092"/>
              <a:gd name="connsiteX15" fmla="*/ 2096775 w 2312290"/>
              <a:gd name="connsiteY15" fmla="*/ 3276034 h 3288092"/>
              <a:gd name="connsiteX16" fmla="*/ 0 w 2312290"/>
              <a:gd name="connsiteY16" fmla="*/ 952518 h 3288092"/>
              <a:gd name="connsiteX17" fmla="*/ 183541 w 2312290"/>
              <a:gd name="connsiteY17" fmla="*/ 43407 h 3288092"/>
              <a:gd name="connsiteX18" fmla="*/ 203538 w 2312290"/>
              <a:gd name="connsiteY18" fmla="*/ 1896 h 3288092"/>
              <a:gd name="connsiteX19" fmla="*/ 625183 w 2312290"/>
              <a:gd name="connsiteY19" fmla="*/ 0 h 3288092"/>
              <a:gd name="connsiteX0" fmla="*/ 2174881 w 2179446"/>
              <a:gd name="connsiteY0" fmla="*/ 3279978 h 3288092"/>
              <a:gd name="connsiteX1" fmla="*/ 2179446 w 2179446"/>
              <a:gd name="connsiteY1" fmla="*/ 3288092 h 3288092"/>
              <a:gd name="connsiteX2" fmla="*/ 2174881 w 2179446"/>
              <a:gd name="connsiteY2" fmla="*/ 3279978 h 3288092"/>
              <a:gd name="connsiteX3" fmla="*/ 2179446 w 2179446"/>
              <a:gd name="connsiteY3" fmla="*/ 2531992 h 3288092"/>
              <a:gd name="connsiteX4" fmla="*/ 2177176 w 2179446"/>
              <a:gd name="connsiteY4" fmla="*/ 2536027 h 3288092"/>
              <a:gd name="connsiteX5" fmla="*/ 2179446 w 2179446"/>
              <a:gd name="connsiteY5" fmla="*/ 2531992 h 3288092"/>
              <a:gd name="connsiteX6" fmla="*/ 625183 w 2179446"/>
              <a:gd name="connsiteY6" fmla="*/ 0 h 3288092"/>
              <a:gd name="connsiteX7" fmla="*/ 852039 w 2179446"/>
              <a:gd name="connsiteY7" fmla="*/ 369726 h 3288092"/>
              <a:gd name="connsiteX8" fmla="*/ 815618 w 2179446"/>
              <a:gd name="connsiteY8" fmla="*/ 479253 h 3288092"/>
              <a:gd name="connsiteX9" fmla="*/ 744067 w 2179446"/>
              <a:gd name="connsiteY9" fmla="*/ 952518 h 3288092"/>
              <a:gd name="connsiteX10" fmla="*/ 2172852 w 2179446"/>
              <a:gd name="connsiteY10" fmla="*/ 2535808 h 3288092"/>
              <a:gd name="connsiteX11" fmla="*/ 2177176 w 2179446"/>
              <a:gd name="connsiteY11" fmla="*/ 2536027 h 3288092"/>
              <a:gd name="connsiteX12" fmla="*/ 1966751 w 2179446"/>
              <a:gd name="connsiteY12" fmla="*/ 2910042 h 3288092"/>
              <a:gd name="connsiteX13" fmla="*/ 2174881 w 2179446"/>
              <a:gd name="connsiteY13" fmla="*/ 3279978 h 3288092"/>
              <a:gd name="connsiteX14" fmla="*/ 2096775 w 2179446"/>
              <a:gd name="connsiteY14" fmla="*/ 3276034 h 3288092"/>
              <a:gd name="connsiteX15" fmla="*/ 0 w 2179446"/>
              <a:gd name="connsiteY15" fmla="*/ 952518 h 3288092"/>
              <a:gd name="connsiteX16" fmla="*/ 183541 w 2179446"/>
              <a:gd name="connsiteY16" fmla="*/ 43407 h 3288092"/>
              <a:gd name="connsiteX17" fmla="*/ 203538 w 2179446"/>
              <a:gd name="connsiteY17" fmla="*/ 1896 h 3288092"/>
              <a:gd name="connsiteX18" fmla="*/ 625183 w 2179446"/>
              <a:gd name="connsiteY18" fmla="*/ 0 h 328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9446" h="3288092">
                <a:moveTo>
                  <a:pt x="2174881" y="3279978"/>
                </a:moveTo>
                <a:lnTo>
                  <a:pt x="2179446" y="3288092"/>
                </a:lnTo>
                <a:lnTo>
                  <a:pt x="2174881" y="3279978"/>
                </a:lnTo>
                <a:close/>
                <a:moveTo>
                  <a:pt x="2179446" y="2531992"/>
                </a:moveTo>
                <a:lnTo>
                  <a:pt x="2177176" y="2536027"/>
                </a:lnTo>
                <a:lnTo>
                  <a:pt x="2179446" y="2531992"/>
                </a:lnTo>
                <a:close/>
                <a:moveTo>
                  <a:pt x="625183" y="0"/>
                </a:moveTo>
                <a:lnTo>
                  <a:pt x="852039" y="369726"/>
                </a:lnTo>
                <a:lnTo>
                  <a:pt x="815618" y="479253"/>
                </a:lnTo>
                <a:cubicBezTo>
                  <a:pt x="769117" y="628757"/>
                  <a:pt x="744067" y="787712"/>
                  <a:pt x="744067" y="952518"/>
                </a:cubicBezTo>
                <a:cubicBezTo>
                  <a:pt x="744067" y="1776548"/>
                  <a:pt x="1370325" y="2454307"/>
                  <a:pt x="2172852" y="2535808"/>
                </a:cubicBezTo>
                <a:lnTo>
                  <a:pt x="2177176" y="2536027"/>
                </a:lnTo>
                <a:lnTo>
                  <a:pt x="1966751" y="2910042"/>
                </a:lnTo>
                <a:lnTo>
                  <a:pt x="2174881" y="3279978"/>
                </a:lnTo>
                <a:lnTo>
                  <a:pt x="2096775" y="3276034"/>
                </a:lnTo>
                <a:cubicBezTo>
                  <a:pt x="919048" y="3156429"/>
                  <a:pt x="0" y="2161801"/>
                  <a:pt x="0" y="952518"/>
                </a:cubicBezTo>
                <a:cubicBezTo>
                  <a:pt x="0" y="630043"/>
                  <a:pt x="65355" y="322832"/>
                  <a:pt x="183541" y="43407"/>
                </a:cubicBezTo>
                <a:lnTo>
                  <a:pt x="203538" y="1896"/>
                </a:lnTo>
                <a:lnTo>
                  <a:pt x="625183" y="0"/>
                </a:lnTo>
                <a:close/>
              </a:path>
            </a:pathLst>
          </a:cu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algn="ctr"/>
            <a:endParaRPr lang="en-US" err="1">
              <a:solidFill>
                <a:schemeClr val="tx1"/>
              </a:solidFill>
            </a:endParaRPr>
          </a:p>
        </p:txBody>
      </p:sp>
      <p:sp>
        <p:nvSpPr>
          <p:cNvPr id="7" name="Freeform: Shape 6">
            <a:extLst>
              <a:ext uri="{FF2B5EF4-FFF2-40B4-BE49-F238E27FC236}">
                <a16:creationId xmlns:a16="http://schemas.microsoft.com/office/drawing/2014/main" id="{2B3321F8-DB4D-1053-E6BF-7145AA33EF06}"/>
              </a:ext>
            </a:extLst>
          </p:cNvPr>
          <p:cNvSpPr/>
          <p:nvPr/>
        </p:nvSpPr>
        <p:spPr bwMode="ltGray">
          <a:xfrm>
            <a:off x="1935504" y="1541671"/>
            <a:ext cx="4186080" cy="1683835"/>
          </a:xfrm>
          <a:custGeom>
            <a:avLst/>
            <a:gdLst>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9446 w 4671148"/>
              <a:gd name="connsiteY4" fmla="*/ 3915048 h 4671148"/>
              <a:gd name="connsiteX5" fmla="*/ 2312951 w 4671148"/>
              <a:gd name="connsiteY5" fmla="*/ 3915048 h 4671148"/>
              <a:gd name="connsiteX6" fmla="*/ 2306993 w 4671148"/>
              <a:gd name="connsiteY6" fmla="*/ 3925638 h 4671148"/>
              <a:gd name="connsiteX7" fmla="*/ 2177176 w 4671148"/>
              <a:gd name="connsiteY7" fmla="*/ 3919083 h 4671148"/>
              <a:gd name="connsiteX8" fmla="*/ 3770754 w 4671148"/>
              <a:gd name="connsiteY8" fmla="*/ 1668482 h 4671148"/>
              <a:gd name="connsiteX9" fmla="*/ 3779224 w 4671148"/>
              <a:gd name="connsiteY9" fmla="*/ 1668782 h 4671148"/>
              <a:gd name="connsiteX10" fmla="*/ 3802013 w 4671148"/>
              <a:gd name="connsiteY10" fmla="*/ 1716088 h 4671148"/>
              <a:gd name="connsiteX11" fmla="*/ 3818147 w 4671148"/>
              <a:gd name="connsiteY11" fmla="*/ 1760170 h 4671148"/>
              <a:gd name="connsiteX12" fmla="*/ 911753 w 4671148"/>
              <a:gd name="connsiteY12" fmla="*/ 1627620 h 4671148"/>
              <a:gd name="connsiteX13" fmla="*/ 916978 w 4671148"/>
              <a:gd name="connsiteY13" fmla="*/ 1636134 h 4671148"/>
              <a:gd name="connsiteX14" fmla="*/ 862742 w 4671148"/>
              <a:gd name="connsiteY14" fmla="*/ 1733555 h 4671148"/>
              <a:gd name="connsiteX15" fmla="*/ 869136 w 4671148"/>
              <a:gd name="connsiteY15" fmla="*/ 1716088 h 4671148"/>
              <a:gd name="connsiteX16" fmla="*/ 4496534 w 4671148"/>
              <a:gd name="connsiteY16" fmla="*/ 1450853 h 4671148"/>
              <a:gd name="connsiteX17" fmla="*/ 4566145 w 4671148"/>
              <a:gd name="connsiteY17" fmla="*/ 1641046 h 4671148"/>
              <a:gd name="connsiteX18" fmla="*/ 4671148 w 4671148"/>
              <a:gd name="connsiteY18" fmla="*/ 2335574 h 4671148"/>
              <a:gd name="connsiteX19" fmla="*/ 2335574 w 4671148"/>
              <a:gd name="connsiteY19" fmla="*/ 4671148 h 4671148"/>
              <a:gd name="connsiteX20" fmla="*/ 2312290 w 4671148"/>
              <a:gd name="connsiteY20" fmla="*/ 4669972 h 4671148"/>
              <a:gd name="connsiteX21" fmla="*/ 2100256 w 4671148"/>
              <a:gd name="connsiteY21" fmla="*/ 4293098 h 4671148"/>
              <a:gd name="connsiteX22" fmla="*/ 2306993 w 4671148"/>
              <a:gd name="connsiteY22" fmla="*/ 3925638 h 4671148"/>
              <a:gd name="connsiteX23" fmla="*/ 2335574 w 4671148"/>
              <a:gd name="connsiteY23" fmla="*/ 3927081 h 4671148"/>
              <a:gd name="connsiteX24" fmla="*/ 3927081 w 4671148"/>
              <a:gd name="connsiteY24" fmla="*/ 2335574 h 4671148"/>
              <a:gd name="connsiteX25" fmla="*/ 3855530 w 4671148"/>
              <a:gd name="connsiteY25" fmla="*/ 1862309 h 4671148"/>
              <a:gd name="connsiteX26" fmla="*/ 3818147 w 4671148"/>
              <a:gd name="connsiteY26" fmla="*/ 1760170 h 4671148"/>
              <a:gd name="connsiteX27" fmla="*/ 3832057 w 4671148"/>
              <a:gd name="connsiteY27" fmla="*/ 1787080 h 4671148"/>
              <a:gd name="connsiteX28" fmla="*/ 4265560 w 4671148"/>
              <a:gd name="connsiteY28" fmla="*/ 1802433 h 4671148"/>
              <a:gd name="connsiteX29" fmla="*/ 625183 w 4671148"/>
              <a:gd name="connsiteY29" fmla="*/ 1383056 h 4671148"/>
              <a:gd name="connsiteX30" fmla="*/ 852039 w 4671148"/>
              <a:gd name="connsiteY30" fmla="*/ 1752782 h 4671148"/>
              <a:gd name="connsiteX31" fmla="*/ 862742 w 4671148"/>
              <a:gd name="connsiteY31" fmla="*/ 1733555 h 4671148"/>
              <a:gd name="connsiteX32" fmla="*/ 815618 w 4671148"/>
              <a:gd name="connsiteY32" fmla="*/ 1862309 h 4671148"/>
              <a:gd name="connsiteX33" fmla="*/ 744067 w 4671148"/>
              <a:gd name="connsiteY33" fmla="*/ 2335574 h 4671148"/>
              <a:gd name="connsiteX34" fmla="*/ 2172852 w 4671148"/>
              <a:gd name="connsiteY34" fmla="*/ 3918864 h 4671148"/>
              <a:gd name="connsiteX35" fmla="*/ 2177176 w 4671148"/>
              <a:gd name="connsiteY35" fmla="*/ 3919083 h 4671148"/>
              <a:gd name="connsiteX36" fmla="*/ 1966751 w 4671148"/>
              <a:gd name="connsiteY36" fmla="*/ 4293098 h 4671148"/>
              <a:gd name="connsiteX37" fmla="*/ 2174881 w 4671148"/>
              <a:gd name="connsiteY37" fmla="*/ 4663034 h 4671148"/>
              <a:gd name="connsiteX38" fmla="*/ 2096775 w 4671148"/>
              <a:gd name="connsiteY38" fmla="*/ 4659090 h 4671148"/>
              <a:gd name="connsiteX39" fmla="*/ 0 w 4671148"/>
              <a:gd name="connsiteY39" fmla="*/ 2335574 h 4671148"/>
              <a:gd name="connsiteX40" fmla="*/ 183541 w 4671148"/>
              <a:gd name="connsiteY40" fmla="*/ 1426463 h 4671148"/>
              <a:gd name="connsiteX41" fmla="*/ 203538 w 4671148"/>
              <a:gd name="connsiteY41" fmla="*/ 1384952 h 4671148"/>
              <a:gd name="connsiteX42" fmla="*/ 4442430 w 4671148"/>
              <a:gd name="connsiteY42" fmla="*/ 1321296 h 4671148"/>
              <a:gd name="connsiteX43" fmla="*/ 4503733 w 4671148"/>
              <a:gd name="connsiteY43" fmla="*/ 1439894 h 4671148"/>
              <a:gd name="connsiteX44" fmla="*/ 4496534 w 4671148"/>
              <a:gd name="connsiteY44" fmla="*/ 1450853 h 4671148"/>
              <a:gd name="connsiteX45" fmla="*/ 4487607 w 4671148"/>
              <a:gd name="connsiteY45" fmla="*/ 1426463 h 4671148"/>
              <a:gd name="connsiteX46" fmla="*/ 4439266 w 4671148"/>
              <a:gd name="connsiteY46" fmla="*/ 1326113 h 4671148"/>
              <a:gd name="connsiteX47" fmla="*/ 259711 w 4671148"/>
              <a:gd name="connsiteY47" fmla="*/ 1268344 h 4671148"/>
              <a:gd name="connsiteX48" fmla="*/ 203538 w 4671148"/>
              <a:gd name="connsiteY48" fmla="*/ 1384952 h 4671148"/>
              <a:gd name="connsiteX49" fmla="*/ 191412 w 4671148"/>
              <a:gd name="connsiteY49" fmla="*/ 1385006 h 4671148"/>
              <a:gd name="connsiteX50" fmla="*/ 256350 w 4671148"/>
              <a:gd name="connsiteY50" fmla="*/ 1268359 h 4671148"/>
              <a:gd name="connsiteX51" fmla="*/ 2335574 w 4671148"/>
              <a:gd name="connsiteY51" fmla="*/ 0 h 4671148"/>
              <a:gd name="connsiteX52" fmla="*/ 4389257 w 4671148"/>
              <a:gd name="connsiteY52" fmla="*/ 1222301 h 4671148"/>
              <a:gd name="connsiteX53" fmla="*/ 4439266 w 4671148"/>
              <a:gd name="connsiteY53" fmla="*/ 1326113 h 4671148"/>
              <a:gd name="connsiteX54" fmla="*/ 4204258 w 4671148"/>
              <a:gd name="connsiteY54" fmla="*/ 1683835 h 4671148"/>
              <a:gd name="connsiteX55" fmla="*/ 3779224 w 4671148"/>
              <a:gd name="connsiteY55" fmla="*/ 1668782 h 4671148"/>
              <a:gd name="connsiteX56" fmla="*/ 3734995 w 4671148"/>
              <a:gd name="connsiteY56" fmla="*/ 1576967 h 4671148"/>
              <a:gd name="connsiteX57" fmla="*/ 2335574 w 4671148"/>
              <a:gd name="connsiteY57" fmla="*/ 744067 h 4671148"/>
              <a:gd name="connsiteX58" fmla="*/ 936154 w 4671148"/>
              <a:gd name="connsiteY58" fmla="*/ 1576967 h 4671148"/>
              <a:gd name="connsiteX59" fmla="*/ 911753 w 4671148"/>
              <a:gd name="connsiteY59" fmla="*/ 1627620 h 4671148"/>
              <a:gd name="connsiteX60" fmla="*/ 690121 w 4671148"/>
              <a:gd name="connsiteY60" fmla="*/ 1266408 h 4671148"/>
              <a:gd name="connsiteX61" fmla="*/ 259711 w 4671148"/>
              <a:gd name="connsiteY61" fmla="*/ 1268344 h 4671148"/>
              <a:gd name="connsiteX62" fmla="*/ 281891 w 4671148"/>
              <a:gd name="connsiteY62" fmla="*/ 1222301 h 4671148"/>
              <a:gd name="connsiteX63" fmla="*/ 2335574 w 4671148"/>
              <a:gd name="connsiteY63"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855530 w 4671148"/>
              <a:gd name="connsiteY28" fmla="*/ 1862309 h 4671148"/>
              <a:gd name="connsiteX29" fmla="*/ 3818147 w 4671148"/>
              <a:gd name="connsiteY29" fmla="*/ 1760170 h 4671148"/>
              <a:gd name="connsiteX30" fmla="*/ 3832057 w 4671148"/>
              <a:gd name="connsiteY30" fmla="*/ 1787080 h 4671148"/>
              <a:gd name="connsiteX31" fmla="*/ 4265560 w 4671148"/>
              <a:gd name="connsiteY31" fmla="*/ 1802433 h 4671148"/>
              <a:gd name="connsiteX32" fmla="*/ 4496534 w 4671148"/>
              <a:gd name="connsiteY32" fmla="*/ 1450853 h 4671148"/>
              <a:gd name="connsiteX33" fmla="*/ 625183 w 4671148"/>
              <a:gd name="connsiteY33" fmla="*/ 1383056 h 4671148"/>
              <a:gd name="connsiteX34" fmla="*/ 852039 w 4671148"/>
              <a:gd name="connsiteY34" fmla="*/ 1752782 h 4671148"/>
              <a:gd name="connsiteX35" fmla="*/ 862742 w 4671148"/>
              <a:gd name="connsiteY35" fmla="*/ 1733555 h 4671148"/>
              <a:gd name="connsiteX36" fmla="*/ 815618 w 4671148"/>
              <a:gd name="connsiteY36" fmla="*/ 1862309 h 4671148"/>
              <a:gd name="connsiteX37" fmla="*/ 744067 w 4671148"/>
              <a:gd name="connsiteY37" fmla="*/ 2335574 h 4671148"/>
              <a:gd name="connsiteX38" fmla="*/ 2172852 w 4671148"/>
              <a:gd name="connsiteY38" fmla="*/ 3918864 h 4671148"/>
              <a:gd name="connsiteX39" fmla="*/ 2177176 w 4671148"/>
              <a:gd name="connsiteY39" fmla="*/ 3919083 h 4671148"/>
              <a:gd name="connsiteX40" fmla="*/ 1966751 w 4671148"/>
              <a:gd name="connsiteY40" fmla="*/ 4293098 h 4671148"/>
              <a:gd name="connsiteX41" fmla="*/ 2174881 w 4671148"/>
              <a:gd name="connsiteY41" fmla="*/ 4663034 h 4671148"/>
              <a:gd name="connsiteX42" fmla="*/ 2096775 w 4671148"/>
              <a:gd name="connsiteY42" fmla="*/ 4659090 h 4671148"/>
              <a:gd name="connsiteX43" fmla="*/ 0 w 4671148"/>
              <a:gd name="connsiteY43" fmla="*/ 2335574 h 4671148"/>
              <a:gd name="connsiteX44" fmla="*/ 183541 w 4671148"/>
              <a:gd name="connsiteY44" fmla="*/ 1426463 h 4671148"/>
              <a:gd name="connsiteX45" fmla="*/ 203538 w 4671148"/>
              <a:gd name="connsiteY45" fmla="*/ 1384952 h 4671148"/>
              <a:gd name="connsiteX46" fmla="*/ 625183 w 4671148"/>
              <a:gd name="connsiteY46" fmla="*/ 1383056 h 4671148"/>
              <a:gd name="connsiteX47" fmla="*/ 4442430 w 4671148"/>
              <a:gd name="connsiteY47" fmla="*/ 1321296 h 4671148"/>
              <a:gd name="connsiteX48" fmla="*/ 4503733 w 4671148"/>
              <a:gd name="connsiteY48" fmla="*/ 1439894 h 4671148"/>
              <a:gd name="connsiteX49" fmla="*/ 4496534 w 4671148"/>
              <a:gd name="connsiteY49" fmla="*/ 1450853 h 4671148"/>
              <a:gd name="connsiteX50" fmla="*/ 4487607 w 4671148"/>
              <a:gd name="connsiteY50" fmla="*/ 1426463 h 4671148"/>
              <a:gd name="connsiteX51" fmla="*/ 4439266 w 4671148"/>
              <a:gd name="connsiteY51" fmla="*/ 1326113 h 4671148"/>
              <a:gd name="connsiteX52" fmla="*/ 4442430 w 4671148"/>
              <a:gd name="connsiteY52" fmla="*/ 1321296 h 4671148"/>
              <a:gd name="connsiteX53" fmla="*/ 259711 w 4671148"/>
              <a:gd name="connsiteY53" fmla="*/ 1268344 h 4671148"/>
              <a:gd name="connsiteX54" fmla="*/ 203538 w 4671148"/>
              <a:gd name="connsiteY54" fmla="*/ 1384952 h 4671148"/>
              <a:gd name="connsiteX55" fmla="*/ 191412 w 4671148"/>
              <a:gd name="connsiteY55" fmla="*/ 1385006 h 4671148"/>
              <a:gd name="connsiteX56" fmla="*/ 256350 w 4671148"/>
              <a:gd name="connsiteY56" fmla="*/ 1268359 h 4671148"/>
              <a:gd name="connsiteX57" fmla="*/ 259711 w 4671148"/>
              <a:gd name="connsiteY57" fmla="*/ 1268344 h 4671148"/>
              <a:gd name="connsiteX58" fmla="*/ 2335574 w 4671148"/>
              <a:gd name="connsiteY58" fmla="*/ 0 h 4671148"/>
              <a:gd name="connsiteX59" fmla="*/ 4389257 w 4671148"/>
              <a:gd name="connsiteY59" fmla="*/ 1222301 h 4671148"/>
              <a:gd name="connsiteX60" fmla="*/ 4439266 w 4671148"/>
              <a:gd name="connsiteY60" fmla="*/ 1326113 h 4671148"/>
              <a:gd name="connsiteX61" fmla="*/ 4204258 w 4671148"/>
              <a:gd name="connsiteY61" fmla="*/ 1683835 h 4671148"/>
              <a:gd name="connsiteX62" fmla="*/ 3779224 w 4671148"/>
              <a:gd name="connsiteY62" fmla="*/ 1668782 h 4671148"/>
              <a:gd name="connsiteX63" fmla="*/ 3734995 w 4671148"/>
              <a:gd name="connsiteY63" fmla="*/ 1576967 h 4671148"/>
              <a:gd name="connsiteX64" fmla="*/ 2335574 w 4671148"/>
              <a:gd name="connsiteY64" fmla="*/ 744067 h 4671148"/>
              <a:gd name="connsiteX65" fmla="*/ 936154 w 4671148"/>
              <a:gd name="connsiteY65" fmla="*/ 1576967 h 4671148"/>
              <a:gd name="connsiteX66" fmla="*/ 911753 w 4671148"/>
              <a:gd name="connsiteY66" fmla="*/ 1627620 h 4671148"/>
              <a:gd name="connsiteX67" fmla="*/ 690121 w 4671148"/>
              <a:gd name="connsiteY67" fmla="*/ 1266408 h 4671148"/>
              <a:gd name="connsiteX68" fmla="*/ 259711 w 4671148"/>
              <a:gd name="connsiteY68" fmla="*/ 1268344 h 4671148"/>
              <a:gd name="connsiteX69" fmla="*/ 281891 w 4671148"/>
              <a:gd name="connsiteY69" fmla="*/ 1222301 h 4671148"/>
              <a:gd name="connsiteX70" fmla="*/ 2335574 w 4671148"/>
              <a:gd name="connsiteY70"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855530 w 4671148"/>
              <a:gd name="connsiteY28" fmla="*/ 1862309 h 4671148"/>
              <a:gd name="connsiteX29" fmla="*/ 3832057 w 4671148"/>
              <a:gd name="connsiteY29" fmla="*/ 1787080 h 4671148"/>
              <a:gd name="connsiteX30" fmla="*/ 4265560 w 4671148"/>
              <a:gd name="connsiteY30" fmla="*/ 1802433 h 4671148"/>
              <a:gd name="connsiteX31" fmla="*/ 4496534 w 4671148"/>
              <a:gd name="connsiteY31" fmla="*/ 1450853 h 4671148"/>
              <a:gd name="connsiteX32" fmla="*/ 625183 w 4671148"/>
              <a:gd name="connsiteY32" fmla="*/ 1383056 h 4671148"/>
              <a:gd name="connsiteX33" fmla="*/ 852039 w 4671148"/>
              <a:gd name="connsiteY33" fmla="*/ 1752782 h 4671148"/>
              <a:gd name="connsiteX34" fmla="*/ 862742 w 4671148"/>
              <a:gd name="connsiteY34" fmla="*/ 1733555 h 4671148"/>
              <a:gd name="connsiteX35" fmla="*/ 815618 w 4671148"/>
              <a:gd name="connsiteY35" fmla="*/ 1862309 h 4671148"/>
              <a:gd name="connsiteX36" fmla="*/ 744067 w 4671148"/>
              <a:gd name="connsiteY36" fmla="*/ 2335574 h 4671148"/>
              <a:gd name="connsiteX37" fmla="*/ 2172852 w 4671148"/>
              <a:gd name="connsiteY37" fmla="*/ 3918864 h 4671148"/>
              <a:gd name="connsiteX38" fmla="*/ 2177176 w 4671148"/>
              <a:gd name="connsiteY38" fmla="*/ 3919083 h 4671148"/>
              <a:gd name="connsiteX39" fmla="*/ 1966751 w 4671148"/>
              <a:gd name="connsiteY39" fmla="*/ 4293098 h 4671148"/>
              <a:gd name="connsiteX40" fmla="*/ 2174881 w 4671148"/>
              <a:gd name="connsiteY40" fmla="*/ 4663034 h 4671148"/>
              <a:gd name="connsiteX41" fmla="*/ 2096775 w 4671148"/>
              <a:gd name="connsiteY41" fmla="*/ 4659090 h 4671148"/>
              <a:gd name="connsiteX42" fmla="*/ 0 w 4671148"/>
              <a:gd name="connsiteY42" fmla="*/ 2335574 h 4671148"/>
              <a:gd name="connsiteX43" fmla="*/ 183541 w 4671148"/>
              <a:gd name="connsiteY43" fmla="*/ 1426463 h 4671148"/>
              <a:gd name="connsiteX44" fmla="*/ 203538 w 4671148"/>
              <a:gd name="connsiteY44" fmla="*/ 1384952 h 4671148"/>
              <a:gd name="connsiteX45" fmla="*/ 625183 w 4671148"/>
              <a:gd name="connsiteY45" fmla="*/ 1383056 h 4671148"/>
              <a:gd name="connsiteX46" fmla="*/ 4442430 w 4671148"/>
              <a:gd name="connsiteY46" fmla="*/ 1321296 h 4671148"/>
              <a:gd name="connsiteX47" fmla="*/ 4503733 w 4671148"/>
              <a:gd name="connsiteY47" fmla="*/ 1439894 h 4671148"/>
              <a:gd name="connsiteX48" fmla="*/ 4496534 w 4671148"/>
              <a:gd name="connsiteY48" fmla="*/ 1450853 h 4671148"/>
              <a:gd name="connsiteX49" fmla="*/ 4487607 w 4671148"/>
              <a:gd name="connsiteY49" fmla="*/ 1426463 h 4671148"/>
              <a:gd name="connsiteX50" fmla="*/ 4439266 w 4671148"/>
              <a:gd name="connsiteY50" fmla="*/ 1326113 h 4671148"/>
              <a:gd name="connsiteX51" fmla="*/ 4442430 w 4671148"/>
              <a:gd name="connsiteY51" fmla="*/ 1321296 h 4671148"/>
              <a:gd name="connsiteX52" fmla="*/ 259711 w 4671148"/>
              <a:gd name="connsiteY52" fmla="*/ 1268344 h 4671148"/>
              <a:gd name="connsiteX53" fmla="*/ 203538 w 4671148"/>
              <a:gd name="connsiteY53" fmla="*/ 1384952 h 4671148"/>
              <a:gd name="connsiteX54" fmla="*/ 191412 w 4671148"/>
              <a:gd name="connsiteY54" fmla="*/ 1385006 h 4671148"/>
              <a:gd name="connsiteX55" fmla="*/ 256350 w 4671148"/>
              <a:gd name="connsiteY55" fmla="*/ 1268359 h 4671148"/>
              <a:gd name="connsiteX56" fmla="*/ 259711 w 4671148"/>
              <a:gd name="connsiteY56" fmla="*/ 1268344 h 4671148"/>
              <a:gd name="connsiteX57" fmla="*/ 2335574 w 4671148"/>
              <a:gd name="connsiteY57" fmla="*/ 0 h 4671148"/>
              <a:gd name="connsiteX58" fmla="*/ 4389257 w 4671148"/>
              <a:gd name="connsiteY58" fmla="*/ 1222301 h 4671148"/>
              <a:gd name="connsiteX59" fmla="*/ 4439266 w 4671148"/>
              <a:gd name="connsiteY59" fmla="*/ 1326113 h 4671148"/>
              <a:gd name="connsiteX60" fmla="*/ 4204258 w 4671148"/>
              <a:gd name="connsiteY60" fmla="*/ 1683835 h 4671148"/>
              <a:gd name="connsiteX61" fmla="*/ 3779224 w 4671148"/>
              <a:gd name="connsiteY61" fmla="*/ 1668782 h 4671148"/>
              <a:gd name="connsiteX62" fmla="*/ 3734995 w 4671148"/>
              <a:gd name="connsiteY62" fmla="*/ 1576967 h 4671148"/>
              <a:gd name="connsiteX63" fmla="*/ 2335574 w 4671148"/>
              <a:gd name="connsiteY63" fmla="*/ 744067 h 4671148"/>
              <a:gd name="connsiteX64" fmla="*/ 936154 w 4671148"/>
              <a:gd name="connsiteY64" fmla="*/ 1576967 h 4671148"/>
              <a:gd name="connsiteX65" fmla="*/ 911753 w 4671148"/>
              <a:gd name="connsiteY65" fmla="*/ 1627620 h 4671148"/>
              <a:gd name="connsiteX66" fmla="*/ 690121 w 4671148"/>
              <a:gd name="connsiteY66" fmla="*/ 1266408 h 4671148"/>
              <a:gd name="connsiteX67" fmla="*/ 259711 w 4671148"/>
              <a:gd name="connsiteY67" fmla="*/ 1268344 h 4671148"/>
              <a:gd name="connsiteX68" fmla="*/ 281891 w 4671148"/>
              <a:gd name="connsiteY68" fmla="*/ 1222301 h 4671148"/>
              <a:gd name="connsiteX69" fmla="*/ 2335574 w 4671148"/>
              <a:gd name="connsiteY69"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832057 w 4671148"/>
              <a:gd name="connsiteY28" fmla="*/ 1787080 h 4671148"/>
              <a:gd name="connsiteX29" fmla="*/ 4265560 w 4671148"/>
              <a:gd name="connsiteY29" fmla="*/ 1802433 h 4671148"/>
              <a:gd name="connsiteX30" fmla="*/ 4496534 w 4671148"/>
              <a:gd name="connsiteY30" fmla="*/ 1450853 h 4671148"/>
              <a:gd name="connsiteX31" fmla="*/ 625183 w 4671148"/>
              <a:gd name="connsiteY31" fmla="*/ 1383056 h 4671148"/>
              <a:gd name="connsiteX32" fmla="*/ 852039 w 4671148"/>
              <a:gd name="connsiteY32" fmla="*/ 1752782 h 4671148"/>
              <a:gd name="connsiteX33" fmla="*/ 862742 w 4671148"/>
              <a:gd name="connsiteY33" fmla="*/ 1733555 h 4671148"/>
              <a:gd name="connsiteX34" fmla="*/ 815618 w 4671148"/>
              <a:gd name="connsiteY34" fmla="*/ 1862309 h 4671148"/>
              <a:gd name="connsiteX35" fmla="*/ 744067 w 4671148"/>
              <a:gd name="connsiteY35" fmla="*/ 2335574 h 4671148"/>
              <a:gd name="connsiteX36" fmla="*/ 2172852 w 4671148"/>
              <a:gd name="connsiteY36" fmla="*/ 3918864 h 4671148"/>
              <a:gd name="connsiteX37" fmla="*/ 2177176 w 4671148"/>
              <a:gd name="connsiteY37" fmla="*/ 3919083 h 4671148"/>
              <a:gd name="connsiteX38" fmla="*/ 1966751 w 4671148"/>
              <a:gd name="connsiteY38" fmla="*/ 4293098 h 4671148"/>
              <a:gd name="connsiteX39" fmla="*/ 2174881 w 4671148"/>
              <a:gd name="connsiteY39" fmla="*/ 4663034 h 4671148"/>
              <a:gd name="connsiteX40" fmla="*/ 2096775 w 4671148"/>
              <a:gd name="connsiteY40" fmla="*/ 4659090 h 4671148"/>
              <a:gd name="connsiteX41" fmla="*/ 0 w 4671148"/>
              <a:gd name="connsiteY41" fmla="*/ 2335574 h 4671148"/>
              <a:gd name="connsiteX42" fmla="*/ 183541 w 4671148"/>
              <a:gd name="connsiteY42" fmla="*/ 1426463 h 4671148"/>
              <a:gd name="connsiteX43" fmla="*/ 203538 w 4671148"/>
              <a:gd name="connsiteY43" fmla="*/ 1384952 h 4671148"/>
              <a:gd name="connsiteX44" fmla="*/ 625183 w 4671148"/>
              <a:gd name="connsiteY44" fmla="*/ 1383056 h 4671148"/>
              <a:gd name="connsiteX45" fmla="*/ 4442430 w 4671148"/>
              <a:gd name="connsiteY45" fmla="*/ 1321296 h 4671148"/>
              <a:gd name="connsiteX46" fmla="*/ 4503733 w 4671148"/>
              <a:gd name="connsiteY46" fmla="*/ 1439894 h 4671148"/>
              <a:gd name="connsiteX47" fmla="*/ 4496534 w 4671148"/>
              <a:gd name="connsiteY47" fmla="*/ 1450853 h 4671148"/>
              <a:gd name="connsiteX48" fmla="*/ 4487607 w 4671148"/>
              <a:gd name="connsiteY48" fmla="*/ 1426463 h 4671148"/>
              <a:gd name="connsiteX49" fmla="*/ 4439266 w 4671148"/>
              <a:gd name="connsiteY49" fmla="*/ 1326113 h 4671148"/>
              <a:gd name="connsiteX50" fmla="*/ 4442430 w 4671148"/>
              <a:gd name="connsiteY50" fmla="*/ 1321296 h 4671148"/>
              <a:gd name="connsiteX51" fmla="*/ 259711 w 4671148"/>
              <a:gd name="connsiteY51" fmla="*/ 1268344 h 4671148"/>
              <a:gd name="connsiteX52" fmla="*/ 203538 w 4671148"/>
              <a:gd name="connsiteY52" fmla="*/ 1384952 h 4671148"/>
              <a:gd name="connsiteX53" fmla="*/ 191412 w 4671148"/>
              <a:gd name="connsiteY53" fmla="*/ 1385006 h 4671148"/>
              <a:gd name="connsiteX54" fmla="*/ 256350 w 4671148"/>
              <a:gd name="connsiteY54" fmla="*/ 1268359 h 4671148"/>
              <a:gd name="connsiteX55" fmla="*/ 259711 w 4671148"/>
              <a:gd name="connsiteY55" fmla="*/ 1268344 h 4671148"/>
              <a:gd name="connsiteX56" fmla="*/ 2335574 w 4671148"/>
              <a:gd name="connsiteY56" fmla="*/ 0 h 4671148"/>
              <a:gd name="connsiteX57" fmla="*/ 4389257 w 4671148"/>
              <a:gd name="connsiteY57" fmla="*/ 1222301 h 4671148"/>
              <a:gd name="connsiteX58" fmla="*/ 4439266 w 4671148"/>
              <a:gd name="connsiteY58" fmla="*/ 1326113 h 4671148"/>
              <a:gd name="connsiteX59" fmla="*/ 4204258 w 4671148"/>
              <a:gd name="connsiteY59" fmla="*/ 1683835 h 4671148"/>
              <a:gd name="connsiteX60" fmla="*/ 3779224 w 4671148"/>
              <a:gd name="connsiteY60" fmla="*/ 1668782 h 4671148"/>
              <a:gd name="connsiteX61" fmla="*/ 3734995 w 4671148"/>
              <a:gd name="connsiteY61" fmla="*/ 1576967 h 4671148"/>
              <a:gd name="connsiteX62" fmla="*/ 2335574 w 4671148"/>
              <a:gd name="connsiteY62" fmla="*/ 744067 h 4671148"/>
              <a:gd name="connsiteX63" fmla="*/ 936154 w 4671148"/>
              <a:gd name="connsiteY63" fmla="*/ 1576967 h 4671148"/>
              <a:gd name="connsiteX64" fmla="*/ 911753 w 4671148"/>
              <a:gd name="connsiteY64" fmla="*/ 1627620 h 4671148"/>
              <a:gd name="connsiteX65" fmla="*/ 690121 w 4671148"/>
              <a:gd name="connsiteY65" fmla="*/ 1266408 h 4671148"/>
              <a:gd name="connsiteX66" fmla="*/ 259711 w 4671148"/>
              <a:gd name="connsiteY66" fmla="*/ 1268344 h 4671148"/>
              <a:gd name="connsiteX67" fmla="*/ 281891 w 4671148"/>
              <a:gd name="connsiteY67" fmla="*/ 1222301 h 4671148"/>
              <a:gd name="connsiteX68" fmla="*/ 2335574 w 4671148"/>
              <a:gd name="connsiteY68"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3832057 w 4671148"/>
              <a:gd name="connsiteY28" fmla="*/ 1787080 h 4671148"/>
              <a:gd name="connsiteX29" fmla="*/ 4496534 w 4671148"/>
              <a:gd name="connsiteY29" fmla="*/ 1450853 h 4671148"/>
              <a:gd name="connsiteX30" fmla="*/ 625183 w 4671148"/>
              <a:gd name="connsiteY30" fmla="*/ 1383056 h 4671148"/>
              <a:gd name="connsiteX31" fmla="*/ 852039 w 4671148"/>
              <a:gd name="connsiteY31" fmla="*/ 1752782 h 4671148"/>
              <a:gd name="connsiteX32" fmla="*/ 862742 w 4671148"/>
              <a:gd name="connsiteY32" fmla="*/ 1733555 h 4671148"/>
              <a:gd name="connsiteX33" fmla="*/ 815618 w 4671148"/>
              <a:gd name="connsiteY33" fmla="*/ 1862309 h 4671148"/>
              <a:gd name="connsiteX34" fmla="*/ 744067 w 4671148"/>
              <a:gd name="connsiteY34" fmla="*/ 2335574 h 4671148"/>
              <a:gd name="connsiteX35" fmla="*/ 2172852 w 4671148"/>
              <a:gd name="connsiteY35" fmla="*/ 3918864 h 4671148"/>
              <a:gd name="connsiteX36" fmla="*/ 2177176 w 4671148"/>
              <a:gd name="connsiteY36" fmla="*/ 3919083 h 4671148"/>
              <a:gd name="connsiteX37" fmla="*/ 1966751 w 4671148"/>
              <a:gd name="connsiteY37" fmla="*/ 4293098 h 4671148"/>
              <a:gd name="connsiteX38" fmla="*/ 2174881 w 4671148"/>
              <a:gd name="connsiteY38" fmla="*/ 4663034 h 4671148"/>
              <a:gd name="connsiteX39" fmla="*/ 2096775 w 4671148"/>
              <a:gd name="connsiteY39" fmla="*/ 4659090 h 4671148"/>
              <a:gd name="connsiteX40" fmla="*/ 0 w 4671148"/>
              <a:gd name="connsiteY40" fmla="*/ 2335574 h 4671148"/>
              <a:gd name="connsiteX41" fmla="*/ 183541 w 4671148"/>
              <a:gd name="connsiteY41" fmla="*/ 1426463 h 4671148"/>
              <a:gd name="connsiteX42" fmla="*/ 203538 w 4671148"/>
              <a:gd name="connsiteY42" fmla="*/ 1384952 h 4671148"/>
              <a:gd name="connsiteX43" fmla="*/ 625183 w 4671148"/>
              <a:gd name="connsiteY43" fmla="*/ 1383056 h 4671148"/>
              <a:gd name="connsiteX44" fmla="*/ 4442430 w 4671148"/>
              <a:gd name="connsiteY44" fmla="*/ 1321296 h 4671148"/>
              <a:gd name="connsiteX45" fmla="*/ 4503733 w 4671148"/>
              <a:gd name="connsiteY45" fmla="*/ 1439894 h 4671148"/>
              <a:gd name="connsiteX46" fmla="*/ 4496534 w 4671148"/>
              <a:gd name="connsiteY46" fmla="*/ 1450853 h 4671148"/>
              <a:gd name="connsiteX47" fmla="*/ 4487607 w 4671148"/>
              <a:gd name="connsiteY47" fmla="*/ 1426463 h 4671148"/>
              <a:gd name="connsiteX48" fmla="*/ 4439266 w 4671148"/>
              <a:gd name="connsiteY48" fmla="*/ 1326113 h 4671148"/>
              <a:gd name="connsiteX49" fmla="*/ 4442430 w 4671148"/>
              <a:gd name="connsiteY49" fmla="*/ 1321296 h 4671148"/>
              <a:gd name="connsiteX50" fmla="*/ 259711 w 4671148"/>
              <a:gd name="connsiteY50" fmla="*/ 1268344 h 4671148"/>
              <a:gd name="connsiteX51" fmla="*/ 203538 w 4671148"/>
              <a:gd name="connsiteY51" fmla="*/ 1384952 h 4671148"/>
              <a:gd name="connsiteX52" fmla="*/ 191412 w 4671148"/>
              <a:gd name="connsiteY52" fmla="*/ 1385006 h 4671148"/>
              <a:gd name="connsiteX53" fmla="*/ 256350 w 4671148"/>
              <a:gd name="connsiteY53" fmla="*/ 1268359 h 4671148"/>
              <a:gd name="connsiteX54" fmla="*/ 259711 w 4671148"/>
              <a:gd name="connsiteY54" fmla="*/ 1268344 h 4671148"/>
              <a:gd name="connsiteX55" fmla="*/ 2335574 w 4671148"/>
              <a:gd name="connsiteY55" fmla="*/ 0 h 4671148"/>
              <a:gd name="connsiteX56" fmla="*/ 4389257 w 4671148"/>
              <a:gd name="connsiteY56" fmla="*/ 1222301 h 4671148"/>
              <a:gd name="connsiteX57" fmla="*/ 4439266 w 4671148"/>
              <a:gd name="connsiteY57" fmla="*/ 1326113 h 4671148"/>
              <a:gd name="connsiteX58" fmla="*/ 4204258 w 4671148"/>
              <a:gd name="connsiteY58" fmla="*/ 1683835 h 4671148"/>
              <a:gd name="connsiteX59" fmla="*/ 3779224 w 4671148"/>
              <a:gd name="connsiteY59" fmla="*/ 1668782 h 4671148"/>
              <a:gd name="connsiteX60" fmla="*/ 3734995 w 4671148"/>
              <a:gd name="connsiteY60" fmla="*/ 1576967 h 4671148"/>
              <a:gd name="connsiteX61" fmla="*/ 2335574 w 4671148"/>
              <a:gd name="connsiteY61" fmla="*/ 744067 h 4671148"/>
              <a:gd name="connsiteX62" fmla="*/ 936154 w 4671148"/>
              <a:gd name="connsiteY62" fmla="*/ 1576967 h 4671148"/>
              <a:gd name="connsiteX63" fmla="*/ 911753 w 4671148"/>
              <a:gd name="connsiteY63" fmla="*/ 1627620 h 4671148"/>
              <a:gd name="connsiteX64" fmla="*/ 690121 w 4671148"/>
              <a:gd name="connsiteY64" fmla="*/ 1266408 h 4671148"/>
              <a:gd name="connsiteX65" fmla="*/ 259711 w 4671148"/>
              <a:gd name="connsiteY65" fmla="*/ 1268344 h 4671148"/>
              <a:gd name="connsiteX66" fmla="*/ 281891 w 4671148"/>
              <a:gd name="connsiteY66" fmla="*/ 1222301 h 4671148"/>
              <a:gd name="connsiteX67" fmla="*/ 2335574 w 4671148"/>
              <a:gd name="connsiteY67"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566145 w 4671148"/>
              <a:gd name="connsiteY21" fmla="*/ 1641046 h 4671148"/>
              <a:gd name="connsiteX22" fmla="*/ 4671148 w 4671148"/>
              <a:gd name="connsiteY22" fmla="*/ 2335574 h 4671148"/>
              <a:gd name="connsiteX23" fmla="*/ 2335574 w 4671148"/>
              <a:gd name="connsiteY23" fmla="*/ 4671148 h 4671148"/>
              <a:gd name="connsiteX24" fmla="*/ 2312290 w 4671148"/>
              <a:gd name="connsiteY24" fmla="*/ 4669972 h 4671148"/>
              <a:gd name="connsiteX25" fmla="*/ 2100256 w 4671148"/>
              <a:gd name="connsiteY25" fmla="*/ 4293098 h 4671148"/>
              <a:gd name="connsiteX26" fmla="*/ 2306993 w 4671148"/>
              <a:gd name="connsiteY26" fmla="*/ 3925638 h 4671148"/>
              <a:gd name="connsiteX27" fmla="*/ 2335574 w 4671148"/>
              <a:gd name="connsiteY27" fmla="*/ 3927081 h 4671148"/>
              <a:gd name="connsiteX28" fmla="*/ 4496534 w 4671148"/>
              <a:gd name="connsiteY28" fmla="*/ 1450853 h 4671148"/>
              <a:gd name="connsiteX29" fmla="*/ 625183 w 4671148"/>
              <a:gd name="connsiteY29" fmla="*/ 1383056 h 4671148"/>
              <a:gd name="connsiteX30" fmla="*/ 852039 w 4671148"/>
              <a:gd name="connsiteY30" fmla="*/ 1752782 h 4671148"/>
              <a:gd name="connsiteX31" fmla="*/ 862742 w 4671148"/>
              <a:gd name="connsiteY31" fmla="*/ 1733555 h 4671148"/>
              <a:gd name="connsiteX32" fmla="*/ 815618 w 4671148"/>
              <a:gd name="connsiteY32" fmla="*/ 1862309 h 4671148"/>
              <a:gd name="connsiteX33" fmla="*/ 744067 w 4671148"/>
              <a:gd name="connsiteY33" fmla="*/ 2335574 h 4671148"/>
              <a:gd name="connsiteX34" fmla="*/ 2172852 w 4671148"/>
              <a:gd name="connsiteY34" fmla="*/ 3918864 h 4671148"/>
              <a:gd name="connsiteX35" fmla="*/ 2177176 w 4671148"/>
              <a:gd name="connsiteY35" fmla="*/ 3919083 h 4671148"/>
              <a:gd name="connsiteX36" fmla="*/ 1966751 w 4671148"/>
              <a:gd name="connsiteY36" fmla="*/ 4293098 h 4671148"/>
              <a:gd name="connsiteX37" fmla="*/ 2174881 w 4671148"/>
              <a:gd name="connsiteY37" fmla="*/ 4663034 h 4671148"/>
              <a:gd name="connsiteX38" fmla="*/ 2096775 w 4671148"/>
              <a:gd name="connsiteY38" fmla="*/ 4659090 h 4671148"/>
              <a:gd name="connsiteX39" fmla="*/ 0 w 4671148"/>
              <a:gd name="connsiteY39" fmla="*/ 2335574 h 4671148"/>
              <a:gd name="connsiteX40" fmla="*/ 183541 w 4671148"/>
              <a:gd name="connsiteY40" fmla="*/ 1426463 h 4671148"/>
              <a:gd name="connsiteX41" fmla="*/ 203538 w 4671148"/>
              <a:gd name="connsiteY41" fmla="*/ 1384952 h 4671148"/>
              <a:gd name="connsiteX42" fmla="*/ 625183 w 4671148"/>
              <a:gd name="connsiteY42" fmla="*/ 1383056 h 4671148"/>
              <a:gd name="connsiteX43" fmla="*/ 4442430 w 4671148"/>
              <a:gd name="connsiteY43" fmla="*/ 1321296 h 4671148"/>
              <a:gd name="connsiteX44" fmla="*/ 4503733 w 4671148"/>
              <a:gd name="connsiteY44" fmla="*/ 1439894 h 4671148"/>
              <a:gd name="connsiteX45" fmla="*/ 4496534 w 4671148"/>
              <a:gd name="connsiteY45" fmla="*/ 1450853 h 4671148"/>
              <a:gd name="connsiteX46" fmla="*/ 4487607 w 4671148"/>
              <a:gd name="connsiteY46" fmla="*/ 1426463 h 4671148"/>
              <a:gd name="connsiteX47" fmla="*/ 4439266 w 4671148"/>
              <a:gd name="connsiteY47" fmla="*/ 1326113 h 4671148"/>
              <a:gd name="connsiteX48" fmla="*/ 4442430 w 4671148"/>
              <a:gd name="connsiteY48" fmla="*/ 1321296 h 4671148"/>
              <a:gd name="connsiteX49" fmla="*/ 259711 w 4671148"/>
              <a:gd name="connsiteY49" fmla="*/ 1268344 h 4671148"/>
              <a:gd name="connsiteX50" fmla="*/ 203538 w 4671148"/>
              <a:gd name="connsiteY50" fmla="*/ 1384952 h 4671148"/>
              <a:gd name="connsiteX51" fmla="*/ 191412 w 4671148"/>
              <a:gd name="connsiteY51" fmla="*/ 1385006 h 4671148"/>
              <a:gd name="connsiteX52" fmla="*/ 256350 w 4671148"/>
              <a:gd name="connsiteY52" fmla="*/ 1268359 h 4671148"/>
              <a:gd name="connsiteX53" fmla="*/ 259711 w 4671148"/>
              <a:gd name="connsiteY53" fmla="*/ 1268344 h 4671148"/>
              <a:gd name="connsiteX54" fmla="*/ 2335574 w 4671148"/>
              <a:gd name="connsiteY54" fmla="*/ 0 h 4671148"/>
              <a:gd name="connsiteX55" fmla="*/ 4389257 w 4671148"/>
              <a:gd name="connsiteY55" fmla="*/ 1222301 h 4671148"/>
              <a:gd name="connsiteX56" fmla="*/ 4439266 w 4671148"/>
              <a:gd name="connsiteY56" fmla="*/ 1326113 h 4671148"/>
              <a:gd name="connsiteX57" fmla="*/ 4204258 w 4671148"/>
              <a:gd name="connsiteY57" fmla="*/ 1683835 h 4671148"/>
              <a:gd name="connsiteX58" fmla="*/ 3779224 w 4671148"/>
              <a:gd name="connsiteY58" fmla="*/ 1668782 h 4671148"/>
              <a:gd name="connsiteX59" fmla="*/ 3734995 w 4671148"/>
              <a:gd name="connsiteY59" fmla="*/ 1576967 h 4671148"/>
              <a:gd name="connsiteX60" fmla="*/ 2335574 w 4671148"/>
              <a:gd name="connsiteY60" fmla="*/ 744067 h 4671148"/>
              <a:gd name="connsiteX61" fmla="*/ 936154 w 4671148"/>
              <a:gd name="connsiteY61" fmla="*/ 1576967 h 4671148"/>
              <a:gd name="connsiteX62" fmla="*/ 911753 w 4671148"/>
              <a:gd name="connsiteY62" fmla="*/ 1627620 h 4671148"/>
              <a:gd name="connsiteX63" fmla="*/ 690121 w 4671148"/>
              <a:gd name="connsiteY63" fmla="*/ 1266408 h 4671148"/>
              <a:gd name="connsiteX64" fmla="*/ 259711 w 4671148"/>
              <a:gd name="connsiteY64" fmla="*/ 1268344 h 4671148"/>
              <a:gd name="connsiteX65" fmla="*/ 281891 w 4671148"/>
              <a:gd name="connsiteY65" fmla="*/ 1222301 h 4671148"/>
              <a:gd name="connsiteX66" fmla="*/ 2335574 w 4671148"/>
              <a:gd name="connsiteY66"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671148 w 4671148"/>
              <a:gd name="connsiteY21" fmla="*/ 2335574 h 4671148"/>
              <a:gd name="connsiteX22" fmla="*/ 2335574 w 4671148"/>
              <a:gd name="connsiteY22" fmla="*/ 4671148 h 4671148"/>
              <a:gd name="connsiteX23" fmla="*/ 2312290 w 4671148"/>
              <a:gd name="connsiteY23" fmla="*/ 4669972 h 4671148"/>
              <a:gd name="connsiteX24" fmla="*/ 2100256 w 4671148"/>
              <a:gd name="connsiteY24" fmla="*/ 4293098 h 4671148"/>
              <a:gd name="connsiteX25" fmla="*/ 2306993 w 4671148"/>
              <a:gd name="connsiteY25" fmla="*/ 3925638 h 4671148"/>
              <a:gd name="connsiteX26" fmla="*/ 2335574 w 4671148"/>
              <a:gd name="connsiteY26" fmla="*/ 3927081 h 4671148"/>
              <a:gd name="connsiteX27" fmla="*/ 4496534 w 4671148"/>
              <a:gd name="connsiteY27" fmla="*/ 1450853 h 4671148"/>
              <a:gd name="connsiteX28" fmla="*/ 625183 w 4671148"/>
              <a:gd name="connsiteY28" fmla="*/ 1383056 h 4671148"/>
              <a:gd name="connsiteX29" fmla="*/ 852039 w 4671148"/>
              <a:gd name="connsiteY29" fmla="*/ 1752782 h 4671148"/>
              <a:gd name="connsiteX30" fmla="*/ 862742 w 4671148"/>
              <a:gd name="connsiteY30" fmla="*/ 1733555 h 4671148"/>
              <a:gd name="connsiteX31" fmla="*/ 815618 w 4671148"/>
              <a:gd name="connsiteY31" fmla="*/ 1862309 h 4671148"/>
              <a:gd name="connsiteX32" fmla="*/ 744067 w 4671148"/>
              <a:gd name="connsiteY32" fmla="*/ 2335574 h 4671148"/>
              <a:gd name="connsiteX33" fmla="*/ 2172852 w 4671148"/>
              <a:gd name="connsiteY33" fmla="*/ 3918864 h 4671148"/>
              <a:gd name="connsiteX34" fmla="*/ 2177176 w 4671148"/>
              <a:gd name="connsiteY34" fmla="*/ 3919083 h 4671148"/>
              <a:gd name="connsiteX35" fmla="*/ 1966751 w 4671148"/>
              <a:gd name="connsiteY35" fmla="*/ 4293098 h 4671148"/>
              <a:gd name="connsiteX36" fmla="*/ 2174881 w 4671148"/>
              <a:gd name="connsiteY36" fmla="*/ 4663034 h 4671148"/>
              <a:gd name="connsiteX37" fmla="*/ 2096775 w 4671148"/>
              <a:gd name="connsiteY37" fmla="*/ 4659090 h 4671148"/>
              <a:gd name="connsiteX38" fmla="*/ 0 w 4671148"/>
              <a:gd name="connsiteY38" fmla="*/ 2335574 h 4671148"/>
              <a:gd name="connsiteX39" fmla="*/ 183541 w 4671148"/>
              <a:gd name="connsiteY39" fmla="*/ 1426463 h 4671148"/>
              <a:gd name="connsiteX40" fmla="*/ 203538 w 4671148"/>
              <a:gd name="connsiteY40" fmla="*/ 1384952 h 4671148"/>
              <a:gd name="connsiteX41" fmla="*/ 625183 w 4671148"/>
              <a:gd name="connsiteY41" fmla="*/ 1383056 h 4671148"/>
              <a:gd name="connsiteX42" fmla="*/ 4442430 w 4671148"/>
              <a:gd name="connsiteY42" fmla="*/ 1321296 h 4671148"/>
              <a:gd name="connsiteX43" fmla="*/ 4503733 w 4671148"/>
              <a:gd name="connsiteY43" fmla="*/ 1439894 h 4671148"/>
              <a:gd name="connsiteX44" fmla="*/ 4496534 w 4671148"/>
              <a:gd name="connsiteY44" fmla="*/ 1450853 h 4671148"/>
              <a:gd name="connsiteX45" fmla="*/ 4487607 w 4671148"/>
              <a:gd name="connsiteY45" fmla="*/ 1426463 h 4671148"/>
              <a:gd name="connsiteX46" fmla="*/ 4439266 w 4671148"/>
              <a:gd name="connsiteY46" fmla="*/ 1326113 h 4671148"/>
              <a:gd name="connsiteX47" fmla="*/ 4442430 w 4671148"/>
              <a:gd name="connsiteY47" fmla="*/ 1321296 h 4671148"/>
              <a:gd name="connsiteX48" fmla="*/ 259711 w 4671148"/>
              <a:gd name="connsiteY48" fmla="*/ 1268344 h 4671148"/>
              <a:gd name="connsiteX49" fmla="*/ 203538 w 4671148"/>
              <a:gd name="connsiteY49" fmla="*/ 1384952 h 4671148"/>
              <a:gd name="connsiteX50" fmla="*/ 191412 w 4671148"/>
              <a:gd name="connsiteY50" fmla="*/ 1385006 h 4671148"/>
              <a:gd name="connsiteX51" fmla="*/ 256350 w 4671148"/>
              <a:gd name="connsiteY51" fmla="*/ 1268359 h 4671148"/>
              <a:gd name="connsiteX52" fmla="*/ 259711 w 4671148"/>
              <a:gd name="connsiteY52" fmla="*/ 1268344 h 4671148"/>
              <a:gd name="connsiteX53" fmla="*/ 2335574 w 4671148"/>
              <a:gd name="connsiteY53" fmla="*/ 0 h 4671148"/>
              <a:gd name="connsiteX54" fmla="*/ 4389257 w 4671148"/>
              <a:gd name="connsiteY54" fmla="*/ 1222301 h 4671148"/>
              <a:gd name="connsiteX55" fmla="*/ 4439266 w 4671148"/>
              <a:gd name="connsiteY55" fmla="*/ 1326113 h 4671148"/>
              <a:gd name="connsiteX56" fmla="*/ 4204258 w 4671148"/>
              <a:gd name="connsiteY56" fmla="*/ 1683835 h 4671148"/>
              <a:gd name="connsiteX57" fmla="*/ 3779224 w 4671148"/>
              <a:gd name="connsiteY57" fmla="*/ 1668782 h 4671148"/>
              <a:gd name="connsiteX58" fmla="*/ 3734995 w 4671148"/>
              <a:gd name="connsiteY58" fmla="*/ 1576967 h 4671148"/>
              <a:gd name="connsiteX59" fmla="*/ 2335574 w 4671148"/>
              <a:gd name="connsiteY59" fmla="*/ 744067 h 4671148"/>
              <a:gd name="connsiteX60" fmla="*/ 936154 w 4671148"/>
              <a:gd name="connsiteY60" fmla="*/ 1576967 h 4671148"/>
              <a:gd name="connsiteX61" fmla="*/ 911753 w 4671148"/>
              <a:gd name="connsiteY61" fmla="*/ 1627620 h 4671148"/>
              <a:gd name="connsiteX62" fmla="*/ 690121 w 4671148"/>
              <a:gd name="connsiteY62" fmla="*/ 1266408 h 4671148"/>
              <a:gd name="connsiteX63" fmla="*/ 259711 w 4671148"/>
              <a:gd name="connsiteY63" fmla="*/ 1268344 h 4671148"/>
              <a:gd name="connsiteX64" fmla="*/ 281891 w 4671148"/>
              <a:gd name="connsiteY64" fmla="*/ 1222301 h 4671148"/>
              <a:gd name="connsiteX65" fmla="*/ 2335574 w 4671148"/>
              <a:gd name="connsiteY65" fmla="*/ 0 h 4671148"/>
              <a:gd name="connsiteX0" fmla="*/ 2174881 w 4671148"/>
              <a:gd name="connsiteY0" fmla="*/ 4663034 h 4671148"/>
              <a:gd name="connsiteX1" fmla="*/ 2312290 w 4671148"/>
              <a:gd name="connsiteY1" fmla="*/ 4669972 h 4671148"/>
              <a:gd name="connsiteX2" fmla="*/ 2312951 w 4671148"/>
              <a:gd name="connsiteY2" fmla="*/ 4671148 h 4671148"/>
              <a:gd name="connsiteX3" fmla="*/ 2179446 w 4671148"/>
              <a:gd name="connsiteY3" fmla="*/ 4671148 h 4671148"/>
              <a:gd name="connsiteX4" fmla="*/ 2174881 w 4671148"/>
              <a:gd name="connsiteY4" fmla="*/ 4663034 h 4671148"/>
              <a:gd name="connsiteX5" fmla="*/ 2179446 w 4671148"/>
              <a:gd name="connsiteY5" fmla="*/ 3915048 h 4671148"/>
              <a:gd name="connsiteX6" fmla="*/ 2312951 w 4671148"/>
              <a:gd name="connsiteY6" fmla="*/ 3915048 h 4671148"/>
              <a:gd name="connsiteX7" fmla="*/ 2306993 w 4671148"/>
              <a:gd name="connsiteY7" fmla="*/ 3925638 h 4671148"/>
              <a:gd name="connsiteX8" fmla="*/ 2177176 w 4671148"/>
              <a:gd name="connsiteY8" fmla="*/ 3919083 h 4671148"/>
              <a:gd name="connsiteX9" fmla="*/ 2179446 w 4671148"/>
              <a:gd name="connsiteY9" fmla="*/ 3915048 h 4671148"/>
              <a:gd name="connsiteX10" fmla="*/ 3770754 w 4671148"/>
              <a:gd name="connsiteY10" fmla="*/ 1668482 h 4671148"/>
              <a:gd name="connsiteX11" fmla="*/ 3779224 w 4671148"/>
              <a:gd name="connsiteY11" fmla="*/ 1668782 h 4671148"/>
              <a:gd name="connsiteX12" fmla="*/ 3802013 w 4671148"/>
              <a:gd name="connsiteY12" fmla="*/ 1716088 h 4671148"/>
              <a:gd name="connsiteX13" fmla="*/ 3818147 w 4671148"/>
              <a:gd name="connsiteY13" fmla="*/ 1760170 h 4671148"/>
              <a:gd name="connsiteX14" fmla="*/ 3770754 w 4671148"/>
              <a:gd name="connsiteY14" fmla="*/ 1668482 h 4671148"/>
              <a:gd name="connsiteX15" fmla="*/ 911753 w 4671148"/>
              <a:gd name="connsiteY15" fmla="*/ 1627620 h 4671148"/>
              <a:gd name="connsiteX16" fmla="*/ 916978 w 4671148"/>
              <a:gd name="connsiteY16" fmla="*/ 1636134 h 4671148"/>
              <a:gd name="connsiteX17" fmla="*/ 862742 w 4671148"/>
              <a:gd name="connsiteY17" fmla="*/ 1733555 h 4671148"/>
              <a:gd name="connsiteX18" fmla="*/ 869136 w 4671148"/>
              <a:gd name="connsiteY18" fmla="*/ 1716088 h 4671148"/>
              <a:gd name="connsiteX19" fmla="*/ 911753 w 4671148"/>
              <a:gd name="connsiteY19" fmla="*/ 1627620 h 4671148"/>
              <a:gd name="connsiteX20" fmla="*/ 4496534 w 4671148"/>
              <a:gd name="connsiteY20" fmla="*/ 1450853 h 4671148"/>
              <a:gd name="connsiteX21" fmla="*/ 4671148 w 4671148"/>
              <a:gd name="connsiteY21" fmla="*/ 2335574 h 4671148"/>
              <a:gd name="connsiteX22" fmla="*/ 2335574 w 4671148"/>
              <a:gd name="connsiteY22" fmla="*/ 4671148 h 4671148"/>
              <a:gd name="connsiteX23" fmla="*/ 2312290 w 4671148"/>
              <a:gd name="connsiteY23" fmla="*/ 4669972 h 4671148"/>
              <a:gd name="connsiteX24" fmla="*/ 2100256 w 4671148"/>
              <a:gd name="connsiteY24" fmla="*/ 4293098 h 4671148"/>
              <a:gd name="connsiteX25" fmla="*/ 2306993 w 4671148"/>
              <a:gd name="connsiteY25" fmla="*/ 3925638 h 4671148"/>
              <a:gd name="connsiteX26" fmla="*/ 2335574 w 4671148"/>
              <a:gd name="connsiteY26" fmla="*/ 3927081 h 4671148"/>
              <a:gd name="connsiteX27" fmla="*/ 4496534 w 4671148"/>
              <a:gd name="connsiteY27" fmla="*/ 1450853 h 4671148"/>
              <a:gd name="connsiteX28" fmla="*/ 625183 w 4671148"/>
              <a:gd name="connsiteY28" fmla="*/ 1383056 h 4671148"/>
              <a:gd name="connsiteX29" fmla="*/ 852039 w 4671148"/>
              <a:gd name="connsiteY29" fmla="*/ 1752782 h 4671148"/>
              <a:gd name="connsiteX30" fmla="*/ 862742 w 4671148"/>
              <a:gd name="connsiteY30" fmla="*/ 1733555 h 4671148"/>
              <a:gd name="connsiteX31" fmla="*/ 815618 w 4671148"/>
              <a:gd name="connsiteY31" fmla="*/ 1862309 h 4671148"/>
              <a:gd name="connsiteX32" fmla="*/ 744067 w 4671148"/>
              <a:gd name="connsiteY32" fmla="*/ 2335574 h 4671148"/>
              <a:gd name="connsiteX33" fmla="*/ 2172852 w 4671148"/>
              <a:gd name="connsiteY33" fmla="*/ 3918864 h 4671148"/>
              <a:gd name="connsiteX34" fmla="*/ 2177176 w 4671148"/>
              <a:gd name="connsiteY34" fmla="*/ 3919083 h 4671148"/>
              <a:gd name="connsiteX35" fmla="*/ 1966751 w 4671148"/>
              <a:gd name="connsiteY35" fmla="*/ 4293098 h 4671148"/>
              <a:gd name="connsiteX36" fmla="*/ 2174881 w 4671148"/>
              <a:gd name="connsiteY36" fmla="*/ 4663034 h 4671148"/>
              <a:gd name="connsiteX37" fmla="*/ 2096775 w 4671148"/>
              <a:gd name="connsiteY37" fmla="*/ 4659090 h 4671148"/>
              <a:gd name="connsiteX38" fmla="*/ 0 w 4671148"/>
              <a:gd name="connsiteY38" fmla="*/ 2335574 h 4671148"/>
              <a:gd name="connsiteX39" fmla="*/ 183541 w 4671148"/>
              <a:gd name="connsiteY39" fmla="*/ 1426463 h 4671148"/>
              <a:gd name="connsiteX40" fmla="*/ 203538 w 4671148"/>
              <a:gd name="connsiteY40" fmla="*/ 1384952 h 4671148"/>
              <a:gd name="connsiteX41" fmla="*/ 625183 w 4671148"/>
              <a:gd name="connsiteY41" fmla="*/ 1383056 h 4671148"/>
              <a:gd name="connsiteX42" fmla="*/ 4442430 w 4671148"/>
              <a:gd name="connsiteY42" fmla="*/ 1321296 h 4671148"/>
              <a:gd name="connsiteX43" fmla="*/ 4503733 w 4671148"/>
              <a:gd name="connsiteY43" fmla="*/ 1439894 h 4671148"/>
              <a:gd name="connsiteX44" fmla="*/ 4487607 w 4671148"/>
              <a:gd name="connsiteY44" fmla="*/ 1426463 h 4671148"/>
              <a:gd name="connsiteX45" fmla="*/ 4439266 w 4671148"/>
              <a:gd name="connsiteY45" fmla="*/ 1326113 h 4671148"/>
              <a:gd name="connsiteX46" fmla="*/ 4442430 w 4671148"/>
              <a:gd name="connsiteY46" fmla="*/ 1321296 h 4671148"/>
              <a:gd name="connsiteX47" fmla="*/ 259711 w 4671148"/>
              <a:gd name="connsiteY47" fmla="*/ 1268344 h 4671148"/>
              <a:gd name="connsiteX48" fmla="*/ 203538 w 4671148"/>
              <a:gd name="connsiteY48" fmla="*/ 1384952 h 4671148"/>
              <a:gd name="connsiteX49" fmla="*/ 191412 w 4671148"/>
              <a:gd name="connsiteY49" fmla="*/ 1385006 h 4671148"/>
              <a:gd name="connsiteX50" fmla="*/ 256350 w 4671148"/>
              <a:gd name="connsiteY50" fmla="*/ 1268359 h 4671148"/>
              <a:gd name="connsiteX51" fmla="*/ 259711 w 4671148"/>
              <a:gd name="connsiteY51" fmla="*/ 1268344 h 4671148"/>
              <a:gd name="connsiteX52" fmla="*/ 2335574 w 4671148"/>
              <a:gd name="connsiteY52" fmla="*/ 0 h 4671148"/>
              <a:gd name="connsiteX53" fmla="*/ 4389257 w 4671148"/>
              <a:gd name="connsiteY53" fmla="*/ 1222301 h 4671148"/>
              <a:gd name="connsiteX54" fmla="*/ 4439266 w 4671148"/>
              <a:gd name="connsiteY54" fmla="*/ 1326113 h 4671148"/>
              <a:gd name="connsiteX55" fmla="*/ 4204258 w 4671148"/>
              <a:gd name="connsiteY55" fmla="*/ 1683835 h 4671148"/>
              <a:gd name="connsiteX56" fmla="*/ 3779224 w 4671148"/>
              <a:gd name="connsiteY56" fmla="*/ 1668782 h 4671148"/>
              <a:gd name="connsiteX57" fmla="*/ 3734995 w 4671148"/>
              <a:gd name="connsiteY57" fmla="*/ 1576967 h 4671148"/>
              <a:gd name="connsiteX58" fmla="*/ 2335574 w 4671148"/>
              <a:gd name="connsiteY58" fmla="*/ 744067 h 4671148"/>
              <a:gd name="connsiteX59" fmla="*/ 936154 w 4671148"/>
              <a:gd name="connsiteY59" fmla="*/ 1576967 h 4671148"/>
              <a:gd name="connsiteX60" fmla="*/ 911753 w 4671148"/>
              <a:gd name="connsiteY60" fmla="*/ 1627620 h 4671148"/>
              <a:gd name="connsiteX61" fmla="*/ 690121 w 4671148"/>
              <a:gd name="connsiteY61" fmla="*/ 1266408 h 4671148"/>
              <a:gd name="connsiteX62" fmla="*/ 259711 w 4671148"/>
              <a:gd name="connsiteY62" fmla="*/ 1268344 h 4671148"/>
              <a:gd name="connsiteX63" fmla="*/ 281891 w 4671148"/>
              <a:gd name="connsiteY63" fmla="*/ 1222301 h 4671148"/>
              <a:gd name="connsiteX64" fmla="*/ 2335574 w 4671148"/>
              <a:gd name="connsiteY64" fmla="*/ 0 h 4671148"/>
              <a:gd name="connsiteX0" fmla="*/ 2174881 w 4503733"/>
              <a:gd name="connsiteY0" fmla="*/ 4663034 h 4671148"/>
              <a:gd name="connsiteX1" fmla="*/ 2312290 w 4503733"/>
              <a:gd name="connsiteY1" fmla="*/ 4669972 h 4671148"/>
              <a:gd name="connsiteX2" fmla="*/ 2312951 w 4503733"/>
              <a:gd name="connsiteY2" fmla="*/ 4671148 h 4671148"/>
              <a:gd name="connsiteX3" fmla="*/ 2179446 w 4503733"/>
              <a:gd name="connsiteY3" fmla="*/ 4671148 h 4671148"/>
              <a:gd name="connsiteX4" fmla="*/ 2174881 w 4503733"/>
              <a:gd name="connsiteY4" fmla="*/ 4663034 h 4671148"/>
              <a:gd name="connsiteX5" fmla="*/ 2179446 w 4503733"/>
              <a:gd name="connsiteY5" fmla="*/ 3915048 h 4671148"/>
              <a:gd name="connsiteX6" fmla="*/ 2312951 w 4503733"/>
              <a:gd name="connsiteY6" fmla="*/ 3915048 h 4671148"/>
              <a:gd name="connsiteX7" fmla="*/ 2306993 w 4503733"/>
              <a:gd name="connsiteY7" fmla="*/ 3925638 h 4671148"/>
              <a:gd name="connsiteX8" fmla="*/ 2177176 w 4503733"/>
              <a:gd name="connsiteY8" fmla="*/ 3919083 h 4671148"/>
              <a:gd name="connsiteX9" fmla="*/ 2179446 w 4503733"/>
              <a:gd name="connsiteY9" fmla="*/ 3915048 h 4671148"/>
              <a:gd name="connsiteX10" fmla="*/ 3770754 w 4503733"/>
              <a:gd name="connsiteY10" fmla="*/ 1668482 h 4671148"/>
              <a:gd name="connsiteX11" fmla="*/ 3779224 w 4503733"/>
              <a:gd name="connsiteY11" fmla="*/ 1668782 h 4671148"/>
              <a:gd name="connsiteX12" fmla="*/ 3802013 w 4503733"/>
              <a:gd name="connsiteY12" fmla="*/ 1716088 h 4671148"/>
              <a:gd name="connsiteX13" fmla="*/ 3818147 w 4503733"/>
              <a:gd name="connsiteY13" fmla="*/ 1760170 h 4671148"/>
              <a:gd name="connsiteX14" fmla="*/ 3770754 w 4503733"/>
              <a:gd name="connsiteY14" fmla="*/ 1668482 h 4671148"/>
              <a:gd name="connsiteX15" fmla="*/ 911753 w 4503733"/>
              <a:gd name="connsiteY15" fmla="*/ 1627620 h 4671148"/>
              <a:gd name="connsiteX16" fmla="*/ 916978 w 4503733"/>
              <a:gd name="connsiteY16" fmla="*/ 1636134 h 4671148"/>
              <a:gd name="connsiteX17" fmla="*/ 862742 w 4503733"/>
              <a:gd name="connsiteY17" fmla="*/ 1733555 h 4671148"/>
              <a:gd name="connsiteX18" fmla="*/ 869136 w 4503733"/>
              <a:gd name="connsiteY18" fmla="*/ 1716088 h 4671148"/>
              <a:gd name="connsiteX19" fmla="*/ 911753 w 4503733"/>
              <a:gd name="connsiteY19" fmla="*/ 1627620 h 4671148"/>
              <a:gd name="connsiteX20" fmla="*/ 4496534 w 4503733"/>
              <a:gd name="connsiteY20" fmla="*/ 1450853 h 4671148"/>
              <a:gd name="connsiteX21" fmla="*/ 2335574 w 4503733"/>
              <a:gd name="connsiteY21" fmla="*/ 4671148 h 4671148"/>
              <a:gd name="connsiteX22" fmla="*/ 2312290 w 4503733"/>
              <a:gd name="connsiteY22" fmla="*/ 4669972 h 4671148"/>
              <a:gd name="connsiteX23" fmla="*/ 2100256 w 4503733"/>
              <a:gd name="connsiteY23" fmla="*/ 4293098 h 4671148"/>
              <a:gd name="connsiteX24" fmla="*/ 2306993 w 4503733"/>
              <a:gd name="connsiteY24" fmla="*/ 3925638 h 4671148"/>
              <a:gd name="connsiteX25" fmla="*/ 2335574 w 4503733"/>
              <a:gd name="connsiteY25" fmla="*/ 3927081 h 4671148"/>
              <a:gd name="connsiteX26" fmla="*/ 4496534 w 4503733"/>
              <a:gd name="connsiteY26" fmla="*/ 1450853 h 4671148"/>
              <a:gd name="connsiteX27" fmla="*/ 625183 w 4503733"/>
              <a:gd name="connsiteY27" fmla="*/ 1383056 h 4671148"/>
              <a:gd name="connsiteX28" fmla="*/ 852039 w 4503733"/>
              <a:gd name="connsiteY28" fmla="*/ 1752782 h 4671148"/>
              <a:gd name="connsiteX29" fmla="*/ 862742 w 4503733"/>
              <a:gd name="connsiteY29" fmla="*/ 1733555 h 4671148"/>
              <a:gd name="connsiteX30" fmla="*/ 815618 w 4503733"/>
              <a:gd name="connsiteY30" fmla="*/ 1862309 h 4671148"/>
              <a:gd name="connsiteX31" fmla="*/ 744067 w 4503733"/>
              <a:gd name="connsiteY31" fmla="*/ 2335574 h 4671148"/>
              <a:gd name="connsiteX32" fmla="*/ 2172852 w 4503733"/>
              <a:gd name="connsiteY32" fmla="*/ 3918864 h 4671148"/>
              <a:gd name="connsiteX33" fmla="*/ 2177176 w 4503733"/>
              <a:gd name="connsiteY33" fmla="*/ 3919083 h 4671148"/>
              <a:gd name="connsiteX34" fmla="*/ 1966751 w 4503733"/>
              <a:gd name="connsiteY34" fmla="*/ 4293098 h 4671148"/>
              <a:gd name="connsiteX35" fmla="*/ 2174881 w 4503733"/>
              <a:gd name="connsiteY35" fmla="*/ 4663034 h 4671148"/>
              <a:gd name="connsiteX36" fmla="*/ 2096775 w 4503733"/>
              <a:gd name="connsiteY36" fmla="*/ 4659090 h 4671148"/>
              <a:gd name="connsiteX37" fmla="*/ 0 w 4503733"/>
              <a:gd name="connsiteY37" fmla="*/ 2335574 h 4671148"/>
              <a:gd name="connsiteX38" fmla="*/ 183541 w 4503733"/>
              <a:gd name="connsiteY38" fmla="*/ 1426463 h 4671148"/>
              <a:gd name="connsiteX39" fmla="*/ 203538 w 4503733"/>
              <a:gd name="connsiteY39" fmla="*/ 1384952 h 4671148"/>
              <a:gd name="connsiteX40" fmla="*/ 625183 w 4503733"/>
              <a:gd name="connsiteY40" fmla="*/ 1383056 h 4671148"/>
              <a:gd name="connsiteX41" fmla="*/ 4442430 w 4503733"/>
              <a:gd name="connsiteY41" fmla="*/ 1321296 h 4671148"/>
              <a:gd name="connsiteX42" fmla="*/ 4503733 w 4503733"/>
              <a:gd name="connsiteY42" fmla="*/ 1439894 h 4671148"/>
              <a:gd name="connsiteX43" fmla="*/ 4487607 w 4503733"/>
              <a:gd name="connsiteY43" fmla="*/ 1426463 h 4671148"/>
              <a:gd name="connsiteX44" fmla="*/ 4439266 w 4503733"/>
              <a:gd name="connsiteY44" fmla="*/ 1326113 h 4671148"/>
              <a:gd name="connsiteX45" fmla="*/ 4442430 w 4503733"/>
              <a:gd name="connsiteY45" fmla="*/ 1321296 h 4671148"/>
              <a:gd name="connsiteX46" fmla="*/ 259711 w 4503733"/>
              <a:gd name="connsiteY46" fmla="*/ 1268344 h 4671148"/>
              <a:gd name="connsiteX47" fmla="*/ 203538 w 4503733"/>
              <a:gd name="connsiteY47" fmla="*/ 1384952 h 4671148"/>
              <a:gd name="connsiteX48" fmla="*/ 191412 w 4503733"/>
              <a:gd name="connsiteY48" fmla="*/ 1385006 h 4671148"/>
              <a:gd name="connsiteX49" fmla="*/ 256350 w 4503733"/>
              <a:gd name="connsiteY49" fmla="*/ 1268359 h 4671148"/>
              <a:gd name="connsiteX50" fmla="*/ 259711 w 4503733"/>
              <a:gd name="connsiteY50" fmla="*/ 1268344 h 4671148"/>
              <a:gd name="connsiteX51" fmla="*/ 2335574 w 4503733"/>
              <a:gd name="connsiteY51" fmla="*/ 0 h 4671148"/>
              <a:gd name="connsiteX52" fmla="*/ 4389257 w 4503733"/>
              <a:gd name="connsiteY52" fmla="*/ 1222301 h 4671148"/>
              <a:gd name="connsiteX53" fmla="*/ 4439266 w 4503733"/>
              <a:gd name="connsiteY53" fmla="*/ 1326113 h 4671148"/>
              <a:gd name="connsiteX54" fmla="*/ 4204258 w 4503733"/>
              <a:gd name="connsiteY54" fmla="*/ 1683835 h 4671148"/>
              <a:gd name="connsiteX55" fmla="*/ 3779224 w 4503733"/>
              <a:gd name="connsiteY55" fmla="*/ 1668782 h 4671148"/>
              <a:gd name="connsiteX56" fmla="*/ 3734995 w 4503733"/>
              <a:gd name="connsiteY56" fmla="*/ 1576967 h 4671148"/>
              <a:gd name="connsiteX57" fmla="*/ 2335574 w 4503733"/>
              <a:gd name="connsiteY57" fmla="*/ 744067 h 4671148"/>
              <a:gd name="connsiteX58" fmla="*/ 936154 w 4503733"/>
              <a:gd name="connsiteY58" fmla="*/ 1576967 h 4671148"/>
              <a:gd name="connsiteX59" fmla="*/ 911753 w 4503733"/>
              <a:gd name="connsiteY59" fmla="*/ 1627620 h 4671148"/>
              <a:gd name="connsiteX60" fmla="*/ 690121 w 4503733"/>
              <a:gd name="connsiteY60" fmla="*/ 1266408 h 4671148"/>
              <a:gd name="connsiteX61" fmla="*/ 259711 w 4503733"/>
              <a:gd name="connsiteY61" fmla="*/ 1268344 h 4671148"/>
              <a:gd name="connsiteX62" fmla="*/ 281891 w 4503733"/>
              <a:gd name="connsiteY62" fmla="*/ 1222301 h 4671148"/>
              <a:gd name="connsiteX63" fmla="*/ 2335574 w 4503733"/>
              <a:gd name="connsiteY63" fmla="*/ 0 h 4671148"/>
              <a:gd name="connsiteX0" fmla="*/ 2174881 w 4496534"/>
              <a:gd name="connsiteY0" fmla="*/ 4663034 h 4671148"/>
              <a:gd name="connsiteX1" fmla="*/ 2312290 w 4496534"/>
              <a:gd name="connsiteY1" fmla="*/ 4669972 h 4671148"/>
              <a:gd name="connsiteX2" fmla="*/ 2312951 w 4496534"/>
              <a:gd name="connsiteY2" fmla="*/ 4671148 h 4671148"/>
              <a:gd name="connsiteX3" fmla="*/ 2179446 w 4496534"/>
              <a:gd name="connsiteY3" fmla="*/ 4671148 h 4671148"/>
              <a:gd name="connsiteX4" fmla="*/ 2174881 w 4496534"/>
              <a:gd name="connsiteY4" fmla="*/ 4663034 h 4671148"/>
              <a:gd name="connsiteX5" fmla="*/ 2179446 w 4496534"/>
              <a:gd name="connsiteY5" fmla="*/ 3915048 h 4671148"/>
              <a:gd name="connsiteX6" fmla="*/ 2312951 w 4496534"/>
              <a:gd name="connsiteY6" fmla="*/ 3915048 h 4671148"/>
              <a:gd name="connsiteX7" fmla="*/ 2306993 w 4496534"/>
              <a:gd name="connsiteY7" fmla="*/ 3925638 h 4671148"/>
              <a:gd name="connsiteX8" fmla="*/ 2177176 w 4496534"/>
              <a:gd name="connsiteY8" fmla="*/ 3919083 h 4671148"/>
              <a:gd name="connsiteX9" fmla="*/ 2179446 w 4496534"/>
              <a:gd name="connsiteY9" fmla="*/ 3915048 h 4671148"/>
              <a:gd name="connsiteX10" fmla="*/ 3770754 w 4496534"/>
              <a:gd name="connsiteY10" fmla="*/ 1668482 h 4671148"/>
              <a:gd name="connsiteX11" fmla="*/ 3779224 w 4496534"/>
              <a:gd name="connsiteY11" fmla="*/ 1668782 h 4671148"/>
              <a:gd name="connsiteX12" fmla="*/ 3802013 w 4496534"/>
              <a:gd name="connsiteY12" fmla="*/ 1716088 h 4671148"/>
              <a:gd name="connsiteX13" fmla="*/ 3818147 w 4496534"/>
              <a:gd name="connsiteY13" fmla="*/ 1760170 h 4671148"/>
              <a:gd name="connsiteX14" fmla="*/ 3770754 w 4496534"/>
              <a:gd name="connsiteY14" fmla="*/ 1668482 h 4671148"/>
              <a:gd name="connsiteX15" fmla="*/ 911753 w 4496534"/>
              <a:gd name="connsiteY15" fmla="*/ 1627620 h 4671148"/>
              <a:gd name="connsiteX16" fmla="*/ 916978 w 4496534"/>
              <a:gd name="connsiteY16" fmla="*/ 1636134 h 4671148"/>
              <a:gd name="connsiteX17" fmla="*/ 862742 w 4496534"/>
              <a:gd name="connsiteY17" fmla="*/ 1733555 h 4671148"/>
              <a:gd name="connsiteX18" fmla="*/ 869136 w 4496534"/>
              <a:gd name="connsiteY18" fmla="*/ 1716088 h 4671148"/>
              <a:gd name="connsiteX19" fmla="*/ 911753 w 4496534"/>
              <a:gd name="connsiteY19" fmla="*/ 1627620 h 4671148"/>
              <a:gd name="connsiteX20" fmla="*/ 4496534 w 4496534"/>
              <a:gd name="connsiteY20" fmla="*/ 1450853 h 4671148"/>
              <a:gd name="connsiteX21" fmla="*/ 2335574 w 4496534"/>
              <a:gd name="connsiteY21" fmla="*/ 4671148 h 4671148"/>
              <a:gd name="connsiteX22" fmla="*/ 2312290 w 4496534"/>
              <a:gd name="connsiteY22" fmla="*/ 4669972 h 4671148"/>
              <a:gd name="connsiteX23" fmla="*/ 2100256 w 4496534"/>
              <a:gd name="connsiteY23" fmla="*/ 4293098 h 4671148"/>
              <a:gd name="connsiteX24" fmla="*/ 2306993 w 4496534"/>
              <a:gd name="connsiteY24" fmla="*/ 3925638 h 4671148"/>
              <a:gd name="connsiteX25" fmla="*/ 2335574 w 4496534"/>
              <a:gd name="connsiteY25" fmla="*/ 3927081 h 4671148"/>
              <a:gd name="connsiteX26" fmla="*/ 4496534 w 4496534"/>
              <a:gd name="connsiteY26" fmla="*/ 1450853 h 4671148"/>
              <a:gd name="connsiteX27" fmla="*/ 625183 w 4496534"/>
              <a:gd name="connsiteY27" fmla="*/ 1383056 h 4671148"/>
              <a:gd name="connsiteX28" fmla="*/ 852039 w 4496534"/>
              <a:gd name="connsiteY28" fmla="*/ 1752782 h 4671148"/>
              <a:gd name="connsiteX29" fmla="*/ 862742 w 4496534"/>
              <a:gd name="connsiteY29" fmla="*/ 1733555 h 4671148"/>
              <a:gd name="connsiteX30" fmla="*/ 815618 w 4496534"/>
              <a:gd name="connsiteY30" fmla="*/ 1862309 h 4671148"/>
              <a:gd name="connsiteX31" fmla="*/ 744067 w 4496534"/>
              <a:gd name="connsiteY31" fmla="*/ 2335574 h 4671148"/>
              <a:gd name="connsiteX32" fmla="*/ 2172852 w 4496534"/>
              <a:gd name="connsiteY32" fmla="*/ 3918864 h 4671148"/>
              <a:gd name="connsiteX33" fmla="*/ 2177176 w 4496534"/>
              <a:gd name="connsiteY33" fmla="*/ 3919083 h 4671148"/>
              <a:gd name="connsiteX34" fmla="*/ 1966751 w 4496534"/>
              <a:gd name="connsiteY34" fmla="*/ 4293098 h 4671148"/>
              <a:gd name="connsiteX35" fmla="*/ 2174881 w 4496534"/>
              <a:gd name="connsiteY35" fmla="*/ 4663034 h 4671148"/>
              <a:gd name="connsiteX36" fmla="*/ 2096775 w 4496534"/>
              <a:gd name="connsiteY36" fmla="*/ 4659090 h 4671148"/>
              <a:gd name="connsiteX37" fmla="*/ 0 w 4496534"/>
              <a:gd name="connsiteY37" fmla="*/ 2335574 h 4671148"/>
              <a:gd name="connsiteX38" fmla="*/ 183541 w 4496534"/>
              <a:gd name="connsiteY38" fmla="*/ 1426463 h 4671148"/>
              <a:gd name="connsiteX39" fmla="*/ 203538 w 4496534"/>
              <a:gd name="connsiteY39" fmla="*/ 1384952 h 4671148"/>
              <a:gd name="connsiteX40" fmla="*/ 625183 w 4496534"/>
              <a:gd name="connsiteY40" fmla="*/ 1383056 h 4671148"/>
              <a:gd name="connsiteX41" fmla="*/ 4442430 w 4496534"/>
              <a:gd name="connsiteY41" fmla="*/ 1321296 h 4671148"/>
              <a:gd name="connsiteX42" fmla="*/ 4487607 w 4496534"/>
              <a:gd name="connsiteY42" fmla="*/ 1426463 h 4671148"/>
              <a:gd name="connsiteX43" fmla="*/ 4439266 w 4496534"/>
              <a:gd name="connsiteY43" fmla="*/ 1326113 h 4671148"/>
              <a:gd name="connsiteX44" fmla="*/ 4442430 w 4496534"/>
              <a:gd name="connsiteY44" fmla="*/ 1321296 h 4671148"/>
              <a:gd name="connsiteX45" fmla="*/ 259711 w 4496534"/>
              <a:gd name="connsiteY45" fmla="*/ 1268344 h 4671148"/>
              <a:gd name="connsiteX46" fmla="*/ 203538 w 4496534"/>
              <a:gd name="connsiteY46" fmla="*/ 1384952 h 4671148"/>
              <a:gd name="connsiteX47" fmla="*/ 191412 w 4496534"/>
              <a:gd name="connsiteY47" fmla="*/ 1385006 h 4671148"/>
              <a:gd name="connsiteX48" fmla="*/ 256350 w 4496534"/>
              <a:gd name="connsiteY48" fmla="*/ 1268359 h 4671148"/>
              <a:gd name="connsiteX49" fmla="*/ 259711 w 4496534"/>
              <a:gd name="connsiteY49" fmla="*/ 1268344 h 4671148"/>
              <a:gd name="connsiteX50" fmla="*/ 2335574 w 4496534"/>
              <a:gd name="connsiteY50" fmla="*/ 0 h 4671148"/>
              <a:gd name="connsiteX51" fmla="*/ 4389257 w 4496534"/>
              <a:gd name="connsiteY51" fmla="*/ 1222301 h 4671148"/>
              <a:gd name="connsiteX52" fmla="*/ 4439266 w 4496534"/>
              <a:gd name="connsiteY52" fmla="*/ 1326113 h 4671148"/>
              <a:gd name="connsiteX53" fmla="*/ 4204258 w 4496534"/>
              <a:gd name="connsiteY53" fmla="*/ 1683835 h 4671148"/>
              <a:gd name="connsiteX54" fmla="*/ 3779224 w 4496534"/>
              <a:gd name="connsiteY54" fmla="*/ 1668782 h 4671148"/>
              <a:gd name="connsiteX55" fmla="*/ 3734995 w 4496534"/>
              <a:gd name="connsiteY55" fmla="*/ 1576967 h 4671148"/>
              <a:gd name="connsiteX56" fmla="*/ 2335574 w 4496534"/>
              <a:gd name="connsiteY56" fmla="*/ 744067 h 4671148"/>
              <a:gd name="connsiteX57" fmla="*/ 936154 w 4496534"/>
              <a:gd name="connsiteY57" fmla="*/ 1576967 h 4671148"/>
              <a:gd name="connsiteX58" fmla="*/ 911753 w 4496534"/>
              <a:gd name="connsiteY58" fmla="*/ 1627620 h 4671148"/>
              <a:gd name="connsiteX59" fmla="*/ 690121 w 4496534"/>
              <a:gd name="connsiteY59" fmla="*/ 1266408 h 4671148"/>
              <a:gd name="connsiteX60" fmla="*/ 259711 w 4496534"/>
              <a:gd name="connsiteY60" fmla="*/ 1268344 h 4671148"/>
              <a:gd name="connsiteX61" fmla="*/ 281891 w 4496534"/>
              <a:gd name="connsiteY61" fmla="*/ 1222301 h 4671148"/>
              <a:gd name="connsiteX62" fmla="*/ 2335574 w 4496534"/>
              <a:gd name="connsiteY62" fmla="*/ 0 h 4671148"/>
              <a:gd name="connsiteX0" fmla="*/ 2174881 w 4487607"/>
              <a:gd name="connsiteY0" fmla="*/ 4663034 h 4671148"/>
              <a:gd name="connsiteX1" fmla="*/ 2312290 w 4487607"/>
              <a:gd name="connsiteY1" fmla="*/ 4669972 h 4671148"/>
              <a:gd name="connsiteX2" fmla="*/ 2312951 w 4487607"/>
              <a:gd name="connsiteY2" fmla="*/ 4671148 h 4671148"/>
              <a:gd name="connsiteX3" fmla="*/ 2179446 w 4487607"/>
              <a:gd name="connsiteY3" fmla="*/ 4671148 h 4671148"/>
              <a:gd name="connsiteX4" fmla="*/ 2174881 w 4487607"/>
              <a:gd name="connsiteY4" fmla="*/ 4663034 h 4671148"/>
              <a:gd name="connsiteX5" fmla="*/ 2179446 w 4487607"/>
              <a:gd name="connsiteY5" fmla="*/ 3915048 h 4671148"/>
              <a:gd name="connsiteX6" fmla="*/ 2312951 w 4487607"/>
              <a:gd name="connsiteY6" fmla="*/ 3915048 h 4671148"/>
              <a:gd name="connsiteX7" fmla="*/ 2306993 w 4487607"/>
              <a:gd name="connsiteY7" fmla="*/ 3925638 h 4671148"/>
              <a:gd name="connsiteX8" fmla="*/ 2177176 w 4487607"/>
              <a:gd name="connsiteY8" fmla="*/ 3919083 h 4671148"/>
              <a:gd name="connsiteX9" fmla="*/ 2179446 w 4487607"/>
              <a:gd name="connsiteY9" fmla="*/ 3915048 h 4671148"/>
              <a:gd name="connsiteX10" fmla="*/ 3770754 w 4487607"/>
              <a:gd name="connsiteY10" fmla="*/ 1668482 h 4671148"/>
              <a:gd name="connsiteX11" fmla="*/ 3779224 w 4487607"/>
              <a:gd name="connsiteY11" fmla="*/ 1668782 h 4671148"/>
              <a:gd name="connsiteX12" fmla="*/ 3802013 w 4487607"/>
              <a:gd name="connsiteY12" fmla="*/ 1716088 h 4671148"/>
              <a:gd name="connsiteX13" fmla="*/ 3818147 w 4487607"/>
              <a:gd name="connsiteY13" fmla="*/ 1760170 h 4671148"/>
              <a:gd name="connsiteX14" fmla="*/ 3770754 w 4487607"/>
              <a:gd name="connsiteY14" fmla="*/ 1668482 h 4671148"/>
              <a:gd name="connsiteX15" fmla="*/ 911753 w 4487607"/>
              <a:gd name="connsiteY15" fmla="*/ 1627620 h 4671148"/>
              <a:gd name="connsiteX16" fmla="*/ 916978 w 4487607"/>
              <a:gd name="connsiteY16" fmla="*/ 1636134 h 4671148"/>
              <a:gd name="connsiteX17" fmla="*/ 862742 w 4487607"/>
              <a:gd name="connsiteY17" fmla="*/ 1733555 h 4671148"/>
              <a:gd name="connsiteX18" fmla="*/ 869136 w 4487607"/>
              <a:gd name="connsiteY18" fmla="*/ 1716088 h 4671148"/>
              <a:gd name="connsiteX19" fmla="*/ 911753 w 4487607"/>
              <a:gd name="connsiteY19" fmla="*/ 1627620 h 4671148"/>
              <a:gd name="connsiteX20" fmla="*/ 2335574 w 4487607"/>
              <a:gd name="connsiteY20" fmla="*/ 3927081 h 4671148"/>
              <a:gd name="connsiteX21" fmla="*/ 2335574 w 4487607"/>
              <a:gd name="connsiteY21" fmla="*/ 4671148 h 4671148"/>
              <a:gd name="connsiteX22" fmla="*/ 2312290 w 4487607"/>
              <a:gd name="connsiteY22" fmla="*/ 4669972 h 4671148"/>
              <a:gd name="connsiteX23" fmla="*/ 2100256 w 4487607"/>
              <a:gd name="connsiteY23" fmla="*/ 4293098 h 4671148"/>
              <a:gd name="connsiteX24" fmla="*/ 2306993 w 4487607"/>
              <a:gd name="connsiteY24" fmla="*/ 3925638 h 4671148"/>
              <a:gd name="connsiteX25" fmla="*/ 2335574 w 4487607"/>
              <a:gd name="connsiteY25" fmla="*/ 3927081 h 4671148"/>
              <a:gd name="connsiteX26" fmla="*/ 625183 w 4487607"/>
              <a:gd name="connsiteY26" fmla="*/ 1383056 h 4671148"/>
              <a:gd name="connsiteX27" fmla="*/ 852039 w 4487607"/>
              <a:gd name="connsiteY27" fmla="*/ 1752782 h 4671148"/>
              <a:gd name="connsiteX28" fmla="*/ 862742 w 4487607"/>
              <a:gd name="connsiteY28" fmla="*/ 1733555 h 4671148"/>
              <a:gd name="connsiteX29" fmla="*/ 815618 w 4487607"/>
              <a:gd name="connsiteY29" fmla="*/ 1862309 h 4671148"/>
              <a:gd name="connsiteX30" fmla="*/ 744067 w 4487607"/>
              <a:gd name="connsiteY30" fmla="*/ 2335574 h 4671148"/>
              <a:gd name="connsiteX31" fmla="*/ 2172852 w 4487607"/>
              <a:gd name="connsiteY31" fmla="*/ 3918864 h 4671148"/>
              <a:gd name="connsiteX32" fmla="*/ 2177176 w 4487607"/>
              <a:gd name="connsiteY32" fmla="*/ 3919083 h 4671148"/>
              <a:gd name="connsiteX33" fmla="*/ 1966751 w 4487607"/>
              <a:gd name="connsiteY33" fmla="*/ 4293098 h 4671148"/>
              <a:gd name="connsiteX34" fmla="*/ 2174881 w 4487607"/>
              <a:gd name="connsiteY34" fmla="*/ 4663034 h 4671148"/>
              <a:gd name="connsiteX35" fmla="*/ 2096775 w 4487607"/>
              <a:gd name="connsiteY35" fmla="*/ 4659090 h 4671148"/>
              <a:gd name="connsiteX36" fmla="*/ 0 w 4487607"/>
              <a:gd name="connsiteY36" fmla="*/ 2335574 h 4671148"/>
              <a:gd name="connsiteX37" fmla="*/ 183541 w 4487607"/>
              <a:gd name="connsiteY37" fmla="*/ 1426463 h 4671148"/>
              <a:gd name="connsiteX38" fmla="*/ 203538 w 4487607"/>
              <a:gd name="connsiteY38" fmla="*/ 1384952 h 4671148"/>
              <a:gd name="connsiteX39" fmla="*/ 625183 w 4487607"/>
              <a:gd name="connsiteY39" fmla="*/ 1383056 h 4671148"/>
              <a:gd name="connsiteX40" fmla="*/ 4442430 w 4487607"/>
              <a:gd name="connsiteY40" fmla="*/ 1321296 h 4671148"/>
              <a:gd name="connsiteX41" fmla="*/ 4487607 w 4487607"/>
              <a:gd name="connsiteY41" fmla="*/ 1426463 h 4671148"/>
              <a:gd name="connsiteX42" fmla="*/ 4439266 w 4487607"/>
              <a:gd name="connsiteY42" fmla="*/ 1326113 h 4671148"/>
              <a:gd name="connsiteX43" fmla="*/ 4442430 w 4487607"/>
              <a:gd name="connsiteY43" fmla="*/ 1321296 h 4671148"/>
              <a:gd name="connsiteX44" fmla="*/ 259711 w 4487607"/>
              <a:gd name="connsiteY44" fmla="*/ 1268344 h 4671148"/>
              <a:gd name="connsiteX45" fmla="*/ 203538 w 4487607"/>
              <a:gd name="connsiteY45" fmla="*/ 1384952 h 4671148"/>
              <a:gd name="connsiteX46" fmla="*/ 191412 w 4487607"/>
              <a:gd name="connsiteY46" fmla="*/ 1385006 h 4671148"/>
              <a:gd name="connsiteX47" fmla="*/ 256350 w 4487607"/>
              <a:gd name="connsiteY47" fmla="*/ 1268359 h 4671148"/>
              <a:gd name="connsiteX48" fmla="*/ 259711 w 4487607"/>
              <a:gd name="connsiteY48" fmla="*/ 1268344 h 4671148"/>
              <a:gd name="connsiteX49" fmla="*/ 2335574 w 4487607"/>
              <a:gd name="connsiteY49" fmla="*/ 0 h 4671148"/>
              <a:gd name="connsiteX50" fmla="*/ 4389257 w 4487607"/>
              <a:gd name="connsiteY50" fmla="*/ 1222301 h 4671148"/>
              <a:gd name="connsiteX51" fmla="*/ 4439266 w 4487607"/>
              <a:gd name="connsiteY51" fmla="*/ 1326113 h 4671148"/>
              <a:gd name="connsiteX52" fmla="*/ 4204258 w 4487607"/>
              <a:gd name="connsiteY52" fmla="*/ 1683835 h 4671148"/>
              <a:gd name="connsiteX53" fmla="*/ 3779224 w 4487607"/>
              <a:gd name="connsiteY53" fmla="*/ 1668782 h 4671148"/>
              <a:gd name="connsiteX54" fmla="*/ 3734995 w 4487607"/>
              <a:gd name="connsiteY54" fmla="*/ 1576967 h 4671148"/>
              <a:gd name="connsiteX55" fmla="*/ 2335574 w 4487607"/>
              <a:gd name="connsiteY55" fmla="*/ 744067 h 4671148"/>
              <a:gd name="connsiteX56" fmla="*/ 936154 w 4487607"/>
              <a:gd name="connsiteY56" fmla="*/ 1576967 h 4671148"/>
              <a:gd name="connsiteX57" fmla="*/ 911753 w 4487607"/>
              <a:gd name="connsiteY57" fmla="*/ 1627620 h 4671148"/>
              <a:gd name="connsiteX58" fmla="*/ 690121 w 4487607"/>
              <a:gd name="connsiteY58" fmla="*/ 1266408 h 4671148"/>
              <a:gd name="connsiteX59" fmla="*/ 259711 w 4487607"/>
              <a:gd name="connsiteY59" fmla="*/ 1268344 h 4671148"/>
              <a:gd name="connsiteX60" fmla="*/ 281891 w 4487607"/>
              <a:gd name="connsiteY60" fmla="*/ 1222301 h 4671148"/>
              <a:gd name="connsiteX61" fmla="*/ 2335574 w 4487607"/>
              <a:gd name="connsiteY61"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802013 w 4442430"/>
              <a:gd name="connsiteY12" fmla="*/ 1716088 h 4671148"/>
              <a:gd name="connsiteX13" fmla="*/ 3818147 w 4442430"/>
              <a:gd name="connsiteY13" fmla="*/ 1760170 h 4671148"/>
              <a:gd name="connsiteX14" fmla="*/ 3770754 w 4442430"/>
              <a:gd name="connsiteY14" fmla="*/ 1668482 h 4671148"/>
              <a:gd name="connsiteX15" fmla="*/ 911753 w 4442430"/>
              <a:gd name="connsiteY15" fmla="*/ 1627620 h 4671148"/>
              <a:gd name="connsiteX16" fmla="*/ 916978 w 4442430"/>
              <a:gd name="connsiteY16" fmla="*/ 1636134 h 4671148"/>
              <a:gd name="connsiteX17" fmla="*/ 862742 w 4442430"/>
              <a:gd name="connsiteY17" fmla="*/ 1733555 h 4671148"/>
              <a:gd name="connsiteX18" fmla="*/ 869136 w 4442430"/>
              <a:gd name="connsiteY18" fmla="*/ 1716088 h 4671148"/>
              <a:gd name="connsiteX19" fmla="*/ 911753 w 4442430"/>
              <a:gd name="connsiteY19" fmla="*/ 1627620 h 4671148"/>
              <a:gd name="connsiteX20" fmla="*/ 2335574 w 4442430"/>
              <a:gd name="connsiteY20" fmla="*/ 3927081 h 4671148"/>
              <a:gd name="connsiteX21" fmla="*/ 2335574 w 4442430"/>
              <a:gd name="connsiteY21" fmla="*/ 4671148 h 4671148"/>
              <a:gd name="connsiteX22" fmla="*/ 2312290 w 4442430"/>
              <a:gd name="connsiteY22" fmla="*/ 4669972 h 4671148"/>
              <a:gd name="connsiteX23" fmla="*/ 2100256 w 4442430"/>
              <a:gd name="connsiteY23" fmla="*/ 4293098 h 4671148"/>
              <a:gd name="connsiteX24" fmla="*/ 2306993 w 4442430"/>
              <a:gd name="connsiteY24" fmla="*/ 3925638 h 4671148"/>
              <a:gd name="connsiteX25" fmla="*/ 2335574 w 4442430"/>
              <a:gd name="connsiteY25" fmla="*/ 3927081 h 4671148"/>
              <a:gd name="connsiteX26" fmla="*/ 625183 w 4442430"/>
              <a:gd name="connsiteY26" fmla="*/ 1383056 h 4671148"/>
              <a:gd name="connsiteX27" fmla="*/ 852039 w 4442430"/>
              <a:gd name="connsiteY27" fmla="*/ 1752782 h 4671148"/>
              <a:gd name="connsiteX28" fmla="*/ 862742 w 4442430"/>
              <a:gd name="connsiteY28" fmla="*/ 1733555 h 4671148"/>
              <a:gd name="connsiteX29" fmla="*/ 815618 w 4442430"/>
              <a:gd name="connsiteY29" fmla="*/ 1862309 h 4671148"/>
              <a:gd name="connsiteX30" fmla="*/ 744067 w 4442430"/>
              <a:gd name="connsiteY30" fmla="*/ 2335574 h 4671148"/>
              <a:gd name="connsiteX31" fmla="*/ 2172852 w 4442430"/>
              <a:gd name="connsiteY31" fmla="*/ 3918864 h 4671148"/>
              <a:gd name="connsiteX32" fmla="*/ 2177176 w 4442430"/>
              <a:gd name="connsiteY32" fmla="*/ 3919083 h 4671148"/>
              <a:gd name="connsiteX33" fmla="*/ 1966751 w 4442430"/>
              <a:gd name="connsiteY33" fmla="*/ 4293098 h 4671148"/>
              <a:gd name="connsiteX34" fmla="*/ 2174881 w 4442430"/>
              <a:gd name="connsiteY34" fmla="*/ 4663034 h 4671148"/>
              <a:gd name="connsiteX35" fmla="*/ 2096775 w 4442430"/>
              <a:gd name="connsiteY35" fmla="*/ 4659090 h 4671148"/>
              <a:gd name="connsiteX36" fmla="*/ 0 w 4442430"/>
              <a:gd name="connsiteY36" fmla="*/ 2335574 h 4671148"/>
              <a:gd name="connsiteX37" fmla="*/ 183541 w 4442430"/>
              <a:gd name="connsiteY37" fmla="*/ 1426463 h 4671148"/>
              <a:gd name="connsiteX38" fmla="*/ 203538 w 4442430"/>
              <a:gd name="connsiteY38" fmla="*/ 1384952 h 4671148"/>
              <a:gd name="connsiteX39" fmla="*/ 625183 w 4442430"/>
              <a:gd name="connsiteY39" fmla="*/ 1383056 h 4671148"/>
              <a:gd name="connsiteX40" fmla="*/ 4442430 w 4442430"/>
              <a:gd name="connsiteY40" fmla="*/ 1321296 h 4671148"/>
              <a:gd name="connsiteX41" fmla="*/ 4439266 w 4442430"/>
              <a:gd name="connsiteY41" fmla="*/ 1326113 h 4671148"/>
              <a:gd name="connsiteX42" fmla="*/ 4442430 w 4442430"/>
              <a:gd name="connsiteY42" fmla="*/ 1321296 h 4671148"/>
              <a:gd name="connsiteX43" fmla="*/ 259711 w 4442430"/>
              <a:gd name="connsiteY43" fmla="*/ 1268344 h 4671148"/>
              <a:gd name="connsiteX44" fmla="*/ 203538 w 4442430"/>
              <a:gd name="connsiteY44" fmla="*/ 1384952 h 4671148"/>
              <a:gd name="connsiteX45" fmla="*/ 191412 w 4442430"/>
              <a:gd name="connsiteY45" fmla="*/ 1385006 h 4671148"/>
              <a:gd name="connsiteX46" fmla="*/ 256350 w 4442430"/>
              <a:gd name="connsiteY46" fmla="*/ 1268359 h 4671148"/>
              <a:gd name="connsiteX47" fmla="*/ 259711 w 4442430"/>
              <a:gd name="connsiteY47" fmla="*/ 1268344 h 4671148"/>
              <a:gd name="connsiteX48" fmla="*/ 2335574 w 4442430"/>
              <a:gd name="connsiteY48" fmla="*/ 0 h 4671148"/>
              <a:gd name="connsiteX49" fmla="*/ 4389257 w 4442430"/>
              <a:gd name="connsiteY49" fmla="*/ 1222301 h 4671148"/>
              <a:gd name="connsiteX50" fmla="*/ 4439266 w 4442430"/>
              <a:gd name="connsiteY50" fmla="*/ 1326113 h 4671148"/>
              <a:gd name="connsiteX51" fmla="*/ 4204258 w 4442430"/>
              <a:gd name="connsiteY51" fmla="*/ 1683835 h 4671148"/>
              <a:gd name="connsiteX52" fmla="*/ 3779224 w 4442430"/>
              <a:gd name="connsiteY52" fmla="*/ 1668782 h 4671148"/>
              <a:gd name="connsiteX53" fmla="*/ 3734995 w 4442430"/>
              <a:gd name="connsiteY53" fmla="*/ 1576967 h 4671148"/>
              <a:gd name="connsiteX54" fmla="*/ 2335574 w 4442430"/>
              <a:gd name="connsiteY54" fmla="*/ 744067 h 4671148"/>
              <a:gd name="connsiteX55" fmla="*/ 936154 w 4442430"/>
              <a:gd name="connsiteY55" fmla="*/ 1576967 h 4671148"/>
              <a:gd name="connsiteX56" fmla="*/ 911753 w 4442430"/>
              <a:gd name="connsiteY56" fmla="*/ 1627620 h 4671148"/>
              <a:gd name="connsiteX57" fmla="*/ 690121 w 4442430"/>
              <a:gd name="connsiteY57" fmla="*/ 1266408 h 4671148"/>
              <a:gd name="connsiteX58" fmla="*/ 259711 w 4442430"/>
              <a:gd name="connsiteY58" fmla="*/ 1268344 h 4671148"/>
              <a:gd name="connsiteX59" fmla="*/ 281891 w 4442430"/>
              <a:gd name="connsiteY59" fmla="*/ 1222301 h 4671148"/>
              <a:gd name="connsiteX60" fmla="*/ 2335574 w 4442430"/>
              <a:gd name="connsiteY60"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818147 w 4442430"/>
              <a:gd name="connsiteY12" fmla="*/ 1760170 h 4671148"/>
              <a:gd name="connsiteX13" fmla="*/ 3770754 w 4442430"/>
              <a:gd name="connsiteY13" fmla="*/ 1668482 h 4671148"/>
              <a:gd name="connsiteX14" fmla="*/ 911753 w 4442430"/>
              <a:gd name="connsiteY14" fmla="*/ 1627620 h 4671148"/>
              <a:gd name="connsiteX15" fmla="*/ 916978 w 4442430"/>
              <a:gd name="connsiteY15" fmla="*/ 1636134 h 4671148"/>
              <a:gd name="connsiteX16" fmla="*/ 862742 w 4442430"/>
              <a:gd name="connsiteY16" fmla="*/ 1733555 h 4671148"/>
              <a:gd name="connsiteX17" fmla="*/ 869136 w 4442430"/>
              <a:gd name="connsiteY17" fmla="*/ 1716088 h 4671148"/>
              <a:gd name="connsiteX18" fmla="*/ 911753 w 4442430"/>
              <a:gd name="connsiteY18" fmla="*/ 1627620 h 4671148"/>
              <a:gd name="connsiteX19" fmla="*/ 2335574 w 4442430"/>
              <a:gd name="connsiteY19" fmla="*/ 3927081 h 4671148"/>
              <a:gd name="connsiteX20" fmla="*/ 2335574 w 4442430"/>
              <a:gd name="connsiteY20" fmla="*/ 4671148 h 4671148"/>
              <a:gd name="connsiteX21" fmla="*/ 2312290 w 4442430"/>
              <a:gd name="connsiteY21" fmla="*/ 4669972 h 4671148"/>
              <a:gd name="connsiteX22" fmla="*/ 2100256 w 4442430"/>
              <a:gd name="connsiteY22" fmla="*/ 4293098 h 4671148"/>
              <a:gd name="connsiteX23" fmla="*/ 2306993 w 4442430"/>
              <a:gd name="connsiteY23" fmla="*/ 3925638 h 4671148"/>
              <a:gd name="connsiteX24" fmla="*/ 2335574 w 4442430"/>
              <a:gd name="connsiteY24" fmla="*/ 3927081 h 4671148"/>
              <a:gd name="connsiteX25" fmla="*/ 625183 w 4442430"/>
              <a:gd name="connsiteY25" fmla="*/ 1383056 h 4671148"/>
              <a:gd name="connsiteX26" fmla="*/ 852039 w 4442430"/>
              <a:gd name="connsiteY26" fmla="*/ 1752782 h 4671148"/>
              <a:gd name="connsiteX27" fmla="*/ 862742 w 4442430"/>
              <a:gd name="connsiteY27" fmla="*/ 1733555 h 4671148"/>
              <a:gd name="connsiteX28" fmla="*/ 815618 w 4442430"/>
              <a:gd name="connsiteY28" fmla="*/ 1862309 h 4671148"/>
              <a:gd name="connsiteX29" fmla="*/ 744067 w 4442430"/>
              <a:gd name="connsiteY29" fmla="*/ 2335574 h 4671148"/>
              <a:gd name="connsiteX30" fmla="*/ 2172852 w 4442430"/>
              <a:gd name="connsiteY30" fmla="*/ 3918864 h 4671148"/>
              <a:gd name="connsiteX31" fmla="*/ 2177176 w 4442430"/>
              <a:gd name="connsiteY31" fmla="*/ 3919083 h 4671148"/>
              <a:gd name="connsiteX32" fmla="*/ 1966751 w 4442430"/>
              <a:gd name="connsiteY32" fmla="*/ 4293098 h 4671148"/>
              <a:gd name="connsiteX33" fmla="*/ 2174881 w 4442430"/>
              <a:gd name="connsiteY33" fmla="*/ 4663034 h 4671148"/>
              <a:gd name="connsiteX34" fmla="*/ 2096775 w 4442430"/>
              <a:gd name="connsiteY34" fmla="*/ 4659090 h 4671148"/>
              <a:gd name="connsiteX35" fmla="*/ 0 w 4442430"/>
              <a:gd name="connsiteY35" fmla="*/ 2335574 h 4671148"/>
              <a:gd name="connsiteX36" fmla="*/ 183541 w 4442430"/>
              <a:gd name="connsiteY36" fmla="*/ 1426463 h 4671148"/>
              <a:gd name="connsiteX37" fmla="*/ 203538 w 4442430"/>
              <a:gd name="connsiteY37" fmla="*/ 1384952 h 4671148"/>
              <a:gd name="connsiteX38" fmla="*/ 625183 w 4442430"/>
              <a:gd name="connsiteY38" fmla="*/ 1383056 h 4671148"/>
              <a:gd name="connsiteX39" fmla="*/ 4442430 w 4442430"/>
              <a:gd name="connsiteY39" fmla="*/ 1321296 h 4671148"/>
              <a:gd name="connsiteX40" fmla="*/ 4439266 w 4442430"/>
              <a:gd name="connsiteY40" fmla="*/ 1326113 h 4671148"/>
              <a:gd name="connsiteX41" fmla="*/ 4442430 w 4442430"/>
              <a:gd name="connsiteY41" fmla="*/ 1321296 h 4671148"/>
              <a:gd name="connsiteX42" fmla="*/ 259711 w 4442430"/>
              <a:gd name="connsiteY42" fmla="*/ 1268344 h 4671148"/>
              <a:gd name="connsiteX43" fmla="*/ 203538 w 4442430"/>
              <a:gd name="connsiteY43" fmla="*/ 1384952 h 4671148"/>
              <a:gd name="connsiteX44" fmla="*/ 191412 w 4442430"/>
              <a:gd name="connsiteY44" fmla="*/ 1385006 h 4671148"/>
              <a:gd name="connsiteX45" fmla="*/ 256350 w 4442430"/>
              <a:gd name="connsiteY45" fmla="*/ 1268359 h 4671148"/>
              <a:gd name="connsiteX46" fmla="*/ 259711 w 4442430"/>
              <a:gd name="connsiteY46" fmla="*/ 1268344 h 4671148"/>
              <a:gd name="connsiteX47" fmla="*/ 2335574 w 4442430"/>
              <a:gd name="connsiteY47" fmla="*/ 0 h 4671148"/>
              <a:gd name="connsiteX48" fmla="*/ 4389257 w 4442430"/>
              <a:gd name="connsiteY48" fmla="*/ 1222301 h 4671148"/>
              <a:gd name="connsiteX49" fmla="*/ 4439266 w 4442430"/>
              <a:gd name="connsiteY49" fmla="*/ 1326113 h 4671148"/>
              <a:gd name="connsiteX50" fmla="*/ 4204258 w 4442430"/>
              <a:gd name="connsiteY50" fmla="*/ 1683835 h 4671148"/>
              <a:gd name="connsiteX51" fmla="*/ 3779224 w 4442430"/>
              <a:gd name="connsiteY51" fmla="*/ 1668782 h 4671148"/>
              <a:gd name="connsiteX52" fmla="*/ 3734995 w 4442430"/>
              <a:gd name="connsiteY52" fmla="*/ 1576967 h 4671148"/>
              <a:gd name="connsiteX53" fmla="*/ 2335574 w 4442430"/>
              <a:gd name="connsiteY53" fmla="*/ 744067 h 4671148"/>
              <a:gd name="connsiteX54" fmla="*/ 936154 w 4442430"/>
              <a:gd name="connsiteY54" fmla="*/ 1576967 h 4671148"/>
              <a:gd name="connsiteX55" fmla="*/ 911753 w 4442430"/>
              <a:gd name="connsiteY55" fmla="*/ 1627620 h 4671148"/>
              <a:gd name="connsiteX56" fmla="*/ 690121 w 4442430"/>
              <a:gd name="connsiteY56" fmla="*/ 1266408 h 4671148"/>
              <a:gd name="connsiteX57" fmla="*/ 259711 w 4442430"/>
              <a:gd name="connsiteY57" fmla="*/ 1268344 h 4671148"/>
              <a:gd name="connsiteX58" fmla="*/ 281891 w 4442430"/>
              <a:gd name="connsiteY58" fmla="*/ 1222301 h 4671148"/>
              <a:gd name="connsiteX59" fmla="*/ 2335574 w 4442430"/>
              <a:gd name="connsiteY59"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852039 w 4442430"/>
              <a:gd name="connsiteY25" fmla="*/ 1752782 h 4671148"/>
              <a:gd name="connsiteX26" fmla="*/ 862742 w 4442430"/>
              <a:gd name="connsiteY26" fmla="*/ 1733555 h 4671148"/>
              <a:gd name="connsiteX27" fmla="*/ 815618 w 4442430"/>
              <a:gd name="connsiteY27" fmla="*/ 1862309 h 4671148"/>
              <a:gd name="connsiteX28" fmla="*/ 744067 w 4442430"/>
              <a:gd name="connsiteY28" fmla="*/ 2335574 h 4671148"/>
              <a:gd name="connsiteX29" fmla="*/ 2172852 w 4442430"/>
              <a:gd name="connsiteY29" fmla="*/ 3918864 h 4671148"/>
              <a:gd name="connsiteX30" fmla="*/ 2177176 w 4442430"/>
              <a:gd name="connsiteY30" fmla="*/ 3919083 h 4671148"/>
              <a:gd name="connsiteX31" fmla="*/ 1966751 w 4442430"/>
              <a:gd name="connsiteY31" fmla="*/ 4293098 h 4671148"/>
              <a:gd name="connsiteX32" fmla="*/ 2174881 w 4442430"/>
              <a:gd name="connsiteY32" fmla="*/ 4663034 h 4671148"/>
              <a:gd name="connsiteX33" fmla="*/ 2096775 w 4442430"/>
              <a:gd name="connsiteY33" fmla="*/ 4659090 h 4671148"/>
              <a:gd name="connsiteX34" fmla="*/ 0 w 4442430"/>
              <a:gd name="connsiteY34" fmla="*/ 2335574 h 4671148"/>
              <a:gd name="connsiteX35" fmla="*/ 183541 w 4442430"/>
              <a:gd name="connsiteY35" fmla="*/ 1426463 h 4671148"/>
              <a:gd name="connsiteX36" fmla="*/ 203538 w 4442430"/>
              <a:gd name="connsiteY36" fmla="*/ 1384952 h 4671148"/>
              <a:gd name="connsiteX37" fmla="*/ 625183 w 4442430"/>
              <a:gd name="connsiteY37" fmla="*/ 1383056 h 4671148"/>
              <a:gd name="connsiteX38" fmla="*/ 4442430 w 4442430"/>
              <a:gd name="connsiteY38" fmla="*/ 1321296 h 4671148"/>
              <a:gd name="connsiteX39" fmla="*/ 4439266 w 4442430"/>
              <a:gd name="connsiteY39" fmla="*/ 1326113 h 4671148"/>
              <a:gd name="connsiteX40" fmla="*/ 4442430 w 4442430"/>
              <a:gd name="connsiteY40" fmla="*/ 1321296 h 4671148"/>
              <a:gd name="connsiteX41" fmla="*/ 259711 w 4442430"/>
              <a:gd name="connsiteY41" fmla="*/ 1268344 h 4671148"/>
              <a:gd name="connsiteX42" fmla="*/ 203538 w 4442430"/>
              <a:gd name="connsiteY42" fmla="*/ 1384952 h 4671148"/>
              <a:gd name="connsiteX43" fmla="*/ 191412 w 4442430"/>
              <a:gd name="connsiteY43" fmla="*/ 1385006 h 4671148"/>
              <a:gd name="connsiteX44" fmla="*/ 256350 w 4442430"/>
              <a:gd name="connsiteY44" fmla="*/ 1268359 h 4671148"/>
              <a:gd name="connsiteX45" fmla="*/ 259711 w 4442430"/>
              <a:gd name="connsiteY45" fmla="*/ 1268344 h 4671148"/>
              <a:gd name="connsiteX46" fmla="*/ 2335574 w 4442430"/>
              <a:gd name="connsiteY46" fmla="*/ 0 h 4671148"/>
              <a:gd name="connsiteX47" fmla="*/ 4389257 w 4442430"/>
              <a:gd name="connsiteY47" fmla="*/ 1222301 h 4671148"/>
              <a:gd name="connsiteX48" fmla="*/ 4439266 w 4442430"/>
              <a:gd name="connsiteY48" fmla="*/ 1326113 h 4671148"/>
              <a:gd name="connsiteX49" fmla="*/ 4204258 w 4442430"/>
              <a:gd name="connsiteY49" fmla="*/ 1683835 h 4671148"/>
              <a:gd name="connsiteX50" fmla="*/ 3779224 w 4442430"/>
              <a:gd name="connsiteY50" fmla="*/ 1668782 h 4671148"/>
              <a:gd name="connsiteX51" fmla="*/ 3734995 w 4442430"/>
              <a:gd name="connsiteY51" fmla="*/ 1576967 h 4671148"/>
              <a:gd name="connsiteX52" fmla="*/ 2335574 w 4442430"/>
              <a:gd name="connsiteY52" fmla="*/ 744067 h 4671148"/>
              <a:gd name="connsiteX53" fmla="*/ 936154 w 4442430"/>
              <a:gd name="connsiteY53" fmla="*/ 1576967 h 4671148"/>
              <a:gd name="connsiteX54" fmla="*/ 911753 w 4442430"/>
              <a:gd name="connsiteY54" fmla="*/ 1627620 h 4671148"/>
              <a:gd name="connsiteX55" fmla="*/ 690121 w 4442430"/>
              <a:gd name="connsiteY55" fmla="*/ 1266408 h 4671148"/>
              <a:gd name="connsiteX56" fmla="*/ 259711 w 4442430"/>
              <a:gd name="connsiteY56" fmla="*/ 1268344 h 4671148"/>
              <a:gd name="connsiteX57" fmla="*/ 281891 w 4442430"/>
              <a:gd name="connsiteY57" fmla="*/ 1222301 h 4671148"/>
              <a:gd name="connsiteX58" fmla="*/ 2335574 w 4442430"/>
              <a:gd name="connsiteY58"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852039 w 4442430"/>
              <a:gd name="connsiteY25" fmla="*/ 1752782 h 4671148"/>
              <a:gd name="connsiteX26" fmla="*/ 862742 w 4442430"/>
              <a:gd name="connsiteY26" fmla="*/ 1733555 h 4671148"/>
              <a:gd name="connsiteX27" fmla="*/ 744067 w 4442430"/>
              <a:gd name="connsiteY27" fmla="*/ 2335574 h 4671148"/>
              <a:gd name="connsiteX28" fmla="*/ 2172852 w 4442430"/>
              <a:gd name="connsiteY28" fmla="*/ 3918864 h 4671148"/>
              <a:gd name="connsiteX29" fmla="*/ 2177176 w 4442430"/>
              <a:gd name="connsiteY29" fmla="*/ 3919083 h 4671148"/>
              <a:gd name="connsiteX30" fmla="*/ 1966751 w 4442430"/>
              <a:gd name="connsiteY30" fmla="*/ 4293098 h 4671148"/>
              <a:gd name="connsiteX31" fmla="*/ 2174881 w 4442430"/>
              <a:gd name="connsiteY31" fmla="*/ 4663034 h 4671148"/>
              <a:gd name="connsiteX32" fmla="*/ 2096775 w 4442430"/>
              <a:gd name="connsiteY32" fmla="*/ 4659090 h 4671148"/>
              <a:gd name="connsiteX33" fmla="*/ 0 w 4442430"/>
              <a:gd name="connsiteY33" fmla="*/ 2335574 h 4671148"/>
              <a:gd name="connsiteX34" fmla="*/ 183541 w 4442430"/>
              <a:gd name="connsiteY34" fmla="*/ 1426463 h 4671148"/>
              <a:gd name="connsiteX35" fmla="*/ 203538 w 4442430"/>
              <a:gd name="connsiteY35" fmla="*/ 1384952 h 4671148"/>
              <a:gd name="connsiteX36" fmla="*/ 625183 w 4442430"/>
              <a:gd name="connsiteY36" fmla="*/ 1383056 h 4671148"/>
              <a:gd name="connsiteX37" fmla="*/ 4442430 w 4442430"/>
              <a:gd name="connsiteY37" fmla="*/ 1321296 h 4671148"/>
              <a:gd name="connsiteX38" fmla="*/ 4439266 w 4442430"/>
              <a:gd name="connsiteY38" fmla="*/ 1326113 h 4671148"/>
              <a:gd name="connsiteX39" fmla="*/ 4442430 w 4442430"/>
              <a:gd name="connsiteY39" fmla="*/ 1321296 h 4671148"/>
              <a:gd name="connsiteX40" fmla="*/ 259711 w 4442430"/>
              <a:gd name="connsiteY40" fmla="*/ 1268344 h 4671148"/>
              <a:gd name="connsiteX41" fmla="*/ 203538 w 4442430"/>
              <a:gd name="connsiteY41" fmla="*/ 1384952 h 4671148"/>
              <a:gd name="connsiteX42" fmla="*/ 191412 w 4442430"/>
              <a:gd name="connsiteY42" fmla="*/ 1385006 h 4671148"/>
              <a:gd name="connsiteX43" fmla="*/ 256350 w 4442430"/>
              <a:gd name="connsiteY43" fmla="*/ 1268359 h 4671148"/>
              <a:gd name="connsiteX44" fmla="*/ 259711 w 4442430"/>
              <a:gd name="connsiteY44" fmla="*/ 1268344 h 4671148"/>
              <a:gd name="connsiteX45" fmla="*/ 2335574 w 4442430"/>
              <a:gd name="connsiteY45" fmla="*/ 0 h 4671148"/>
              <a:gd name="connsiteX46" fmla="*/ 4389257 w 4442430"/>
              <a:gd name="connsiteY46" fmla="*/ 1222301 h 4671148"/>
              <a:gd name="connsiteX47" fmla="*/ 4439266 w 4442430"/>
              <a:gd name="connsiteY47" fmla="*/ 1326113 h 4671148"/>
              <a:gd name="connsiteX48" fmla="*/ 4204258 w 4442430"/>
              <a:gd name="connsiteY48" fmla="*/ 1683835 h 4671148"/>
              <a:gd name="connsiteX49" fmla="*/ 3779224 w 4442430"/>
              <a:gd name="connsiteY49" fmla="*/ 1668782 h 4671148"/>
              <a:gd name="connsiteX50" fmla="*/ 3734995 w 4442430"/>
              <a:gd name="connsiteY50" fmla="*/ 1576967 h 4671148"/>
              <a:gd name="connsiteX51" fmla="*/ 2335574 w 4442430"/>
              <a:gd name="connsiteY51" fmla="*/ 744067 h 4671148"/>
              <a:gd name="connsiteX52" fmla="*/ 936154 w 4442430"/>
              <a:gd name="connsiteY52" fmla="*/ 1576967 h 4671148"/>
              <a:gd name="connsiteX53" fmla="*/ 911753 w 4442430"/>
              <a:gd name="connsiteY53" fmla="*/ 1627620 h 4671148"/>
              <a:gd name="connsiteX54" fmla="*/ 690121 w 4442430"/>
              <a:gd name="connsiteY54" fmla="*/ 1266408 h 4671148"/>
              <a:gd name="connsiteX55" fmla="*/ 259711 w 4442430"/>
              <a:gd name="connsiteY55" fmla="*/ 1268344 h 4671148"/>
              <a:gd name="connsiteX56" fmla="*/ 281891 w 4442430"/>
              <a:gd name="connsiteY56" fmla="*/ 1222301 h 4671148"/>
              <a:gd name="connsiteX57" fmla="*/ 2335574 w 4442430"/>
              <a:gd name="connsiteY57"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852039 w 4442430"/>
              <a:gd name="connsiteY25" fmla="*/ 1752782 h 4671148"/>
              <a:gd name="connsiteX26" fmla="*/ 862742 w 4442430"/>
              <a:gd name="connsiteY26" fmla="*/ 1733555 h 4671148"/>
              <a:gd name="connsiteX27" fmla="*/ 2172852 w 4442430"/>
              <a:gd name="connsiteY27" fmla="*/ 3918864 h 4671148"/>
              <a:gd name="connsiteX28" fmla="*/ 2177176 w 4442430"/>
              <a:gd name="connsiteY28" fmla="*/ 3919083 h 4671148"/>
              <a:gd name="connsiteX29" fmla="*/ 1966751 w 4442430"/>
              <a:gd name="connsiteY29" fmla="*/ 4293098 h 4671148"/>
              <a:gd name="connsiteX30" fmla="*/ 2174881 w 4442430"/>
              <a:gd name="connsiteY30" fmla="*/ 4663034 h 4671148"/>
              <a:gd name="connsiteX31" fmla="*/ 2096775 w 4442430"/>
              <a:gd name="connsiteY31" fmla="*/ 4659090 h 4671148"/>
              <a:gd name="connsiteX32" fmla="*/ 0 w 4442430"/>
              <a:gd name="connsiteY32" fmla="*/ 2335574 h 4671148"/>
              <a:gd name="connsiteX33" fmla="*/ 183541 w 4442430"/>
              <a:gd name="connsiteY33" fmla="*/ 1426463 h 4671148"/>
              <a:gd name="connsiteX34" fmla="*/ 203538 w 4442430"/>
              <a:gd name="connsiteY34" fmla="*/ 1384952 h 4671148"/>
              <a:gd name="connsiteX35" fmla="*/ 625183 w 4442430"/>
              <a:gd name="connsiteY35" fmla="*/ 1383056 h 4671148"/>
              <a:gd name="connsiteX36" fmla="*/ 4442430 w 4442430"/>
              <a:gd name="connsiteY36" fmla="*/ 1321296 h 4671148"/>
              <a:gd name="connsiteX37" fmla="*/ 4439266 w 4442430"/>
              <a:gd name="connsiteY37" fmla="*/ 1326113 h 4671148"/>
              <a:gd name="connsiteX38" fmla="*/ 4442430 w 4442430"/>
              <a:gd name="connsiteY38" fmla="*/ 1321296 h 4671148"/>
              <a:gd name="connsiteX39" fmla="*/ 259711 w 4442430"/>
              <a:gd name="connsiteY39" fmla="*/ 1268344 h 4671148"/>
              <a:gd name="connsiteX40" fmla="*/ 203538 w 4442430"/>
              <a:gd name="connsiteY40" fmla="*/ 1384952 h 4671148"/>
              <a:gd name="connsiteX41" fmla="*/ 191412 w 4442430"/>
              <a:gd name="connsiteY41" fmla="*/ 1385006 h 4671148"/>
              <a:gd name="connsiteX42" fmla="*/ 256350 w 4442430"/>
              <a:gd name="connsiteY42" fmla="*/ 1268359 h 4671148"/>
              <a:gd name="connsiteX43" fmla="*/ 259711 w 4442430"/>
              <a:gd name="connsiteY43" fmla="*/ 1268344 h 4671148"/>
              <a:gd name="connsiteX44" fmla="*/ 2335574 w 4442430"/>
              <a:gd name="connsiteY44" fmla="*/ 0 h 4671148"/>
              <a:gd name="connsiteX45" fmla="*/ 4389257 w 4442430"/>
              <a:gd name="connsiteY45" fmla="*/ 1222301 h 4671148"/>
              <a:gd name="connsiteX46" fmla="*/ 4439266 w 4442430"/>
              <a:gd name="connsiteY46" fmla="*/ 1326113 h 4671148"/>
              <a:gd name="connsiteX47" fmla="*/ 4204258 w 4442430"/>
              <a:gd name="connsiteY47" fmla="*/ 1683835 h 4671148"/>
              <a:gd name="connsiteX48" fmla="*/ 3779224 w 4442430"/>
              <a:gd name="connsiteY48" fmla="*/ 1668782 h 4671148"/>
              <a:gd name="connsiteX49" fmla="*/ 3734995 w 4442430"/>
              <a:gd name="connsiteY49" fmla="*/ 1576967 h 4671148"/>
              <a:gd name="connsiteX50" fmla="*/ 2335574 w 4442430"/>
              <a:gd name="connsiteY50" fmla="*/ 744067 h 4671148"/>
              <a:gd name="connsiteX51" fmla="*/ 936154 w 4442430"/>
              <a:gd name="connsiteY51" fmla="*/ 1576967 h 4671148"/>
              <a:gd name="connsiteX52" fmla="*/ 911753 w 4442430"/>
              <a:gd name="connsiteY52" fmla="*/ 1627620 h 4671148"/>
              <a:gd name="connsiteX53" fmla="*/ 690121 w 4442430"/>
              <a:gd name="connsiteY53" fmla="*/ 1266408 h 4671148"/>
              <a:gd name="connsiteX54" fmla="*/ 259711 w 4442430"/>
              <a:gd name="connsiteY54" fmla="*/ 1268344 h 4671148"/>
              <a:gd name="connsiteX55" fmla="*/ 281891 w 4442430"/>
              <a:gd name="connsiteY55" fmla="*/ 1222301 h 4671148"/>
              <a:gd name="connsiteX56" fmla="*/ 2335574 w 4442430"/>
              <a:gd name="connsiteY56"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862742 w 4442430"/>
              <a:gd name="connsiteY25" fmla="*/ 1733555 h 4671148"/>
              <a:gd name="connsiteX26" fmla="*/ 2172852 w 4442430"/>
              <a:gd name="connsiteY26" fmla="*/ 3918864 h 4671148"/>
              <a:gd name="connsiteX27" fmla="*/ 2177176 w 4442430"/>
              <a:gd name="connsiteY27" fmla="*/ 3919083 h 4671148"/>
              <a:gd name="connsiteX28" fmla="*/ 1966751 w 4442430"/>
              <a:gd name="connsiteY28" fmla="*/ 4293098 h 4671148"/>
              <a:gd name="connsiteX29" fmla="*/ 2174881 w 4442430"/>
              <a:gd name="connsiteY29" fmla="*/ 4663034 h 4671148"/>
              <a:gd name="connsiteX30" fmla="*/ 2096775 w 4442430"/>
              <a:gd name="connsiteY30" fmla="*/ 4659090 h 4671148"/>
              <a:gd name="connsiteX31" fmla="*/ 0 w 4442430"/>
              <a:gd name="connsiteY31" fmla="*/ 2335574 h 4671148"/>
              <a:gd name="connsiteX32" fmla="*/ 183541 w 4442430"/>
              <a:gd name="connsiteY32" fmla="*/ 1426463 h 4671148"/>
              <a:gd name="connsiteX33" fmla="*/ 203538 w 4442430"/>
              <a:gd name="connsiteY33" fmla="*/ 1384952 h 4671148"/>
              <a:gd name="connsiteX34" fmla="*/ 625183 w 4442430"/>
              <a:gd name="connsiteY34" fmla="*/ 1383056 h 4671148"/>
              <a:gd name="connsiteX35" fmla="*/ 4442430 w 4442430"/>
              <a:gd name="connsiteY35" fmla="*/ 1321296 h 4671148"/>
              <a:gd name="connsiteX36" fmla="*/ 4439266 w 4442430"/>
              <a:gd name="connsiteY36" fmla="*/ 1326113 h 4671148"/>
              <a:gd name="connsiteX37" fmla="*/ 4442430 w 4442430"/>
              <a:gd name="connsiteY37" fmla="*/ 1321296 h 4671148"/>
              <a:gd name="connsiteX38" fmla="*/ 259711 w 4442430"/>
              <a:gd name="connsiteY38" fmla="*/ 1268344 h 4671148"/>
              <a:gd name="connsiteX39" fmla="*/ 203538 w 4442430"/>
              <a:gd name="connsiteY39" fmla="*/ 1384952 h 4671148"/>
              <a:gd name="connsiteX40" fmla="*/ 191412 w 4442430"/>
              <a:gd name="connsiteY40" fmla="*/ 1385006 h 4671148"/>
              <a:gd name="connsiteX41" fmla="*/ 256350 w 4442430"/>
              <a:gd name="connsiteY41" fmla="*/ 1268359 h 4671148"/>
              <a:gd name="connsiteX42" fmla="*/ 259711 w 4442430"/>
              <a:gd name="connsiteY42" fmla="*/ 1268344 h 4671148"/>
              <a:gd name="connsiteX43" fmla="*/ 2335574 w 4442430"/>
              <a:gd name="connsiteY43" fmla="*/ 0 h 4671148"/>
              <a:gd name="connsiteX44" fmla="*/ 4389257 w 4442430"/>
              <a:gd name="connsiteY44" fmla="*/ 1222301 h 4671148"/>
              <a:gd name="connsiteX45" fmla="*/ 4439266 w 4442430"/>
              <a:gd name="connsiteY45" fmla="*/ 1326113 h 4671148"/>
              <a:gd name="connsiteX46" fmla="*/ 4204258 w 4442430"/>
              <a:gd name="connsiteY46" fmla="*/ 1683835 h 4671148"/>
              <a:gd name="connsiteX47" fmla="*/ 3779224 w 4442430"/>
              <a:gd name="connsiteY47" fmla="*/ 1668782 h 4671148"/>
              <a:gd name="connsiteX48" fmla="*/ 3734995 w 4442430"/>
              <a:gd name="connsiteY48" fmla="*/ 1576967 h 4671148"/>
              <a:gd name="connsiteX49" fmla="*/ 2335574 w 4442430"/>
              <a:gd name="connsiteY49" fmla="*/ 744067 h 4671148"/>
              <a:gd name="connsiteX50" fmla="*/ 936154 w 4442430"/>
              <a:gd name="connsiteY50" fmla="*/ 1576967 h 4671148"/>
              <a:gd name="connsiteX51" fmla="*/ 911753 w 4442430"/>
              <a:gd name="connsiteY51" fmla="*/ 1627620 h 4671148"/>
              <a:gd name="connsiteX52" fmla="*/ 690121 w 4442430"/>
              <a:gd name="connsiteY52" fmla="*/ 1266408 h 4671148"/>
              <a:gd name="connsiteX53" fmla="*/ 259711 w 4442430"/>
              <a:gd name="connsiteY53" fmla="*/ 1268344 h 4671148"/>
              <a:gd name="connsiteX54" fmla="*/ 281891 w 4442430"/>
              <a:gd name="connsiteY54" fmla="*/ 1222301 h 4671148"/>
              <a:gd name="connsiteX55" fmla="*/ 2335574 w 4442430"/>
              <a:gd name="connsiteY55"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2172852 w 4442430"/>
              <a:gd name="connsiteY25" fmla="*/ 3918864 h 4671148"/>
              <a:gd name="connsiteX26" fmla="*/ 2177176 w 4442430"/>
              <a:gd name="connsiteY26" fmla="*/ 3919083 h 4671148"/>
              <a:gd name="connsiteX27" fmla="*/ 1966751 w 4442430"/>
              <a:gd name="connsiteY27" fmla="*/ 4293098 h 4671148"/>
              <a:gd name="connsiteX28" fmla="*/ 2174881 w 4442430"/>
              <a:gd name="connsiteY28" fmla="*/ 4663034 h 4671148"/>
              <a:gd name="connsiteX29" fmla="*/ 2096775 w 4442430"/>
              <a:gd name="connsiteY29" fmla="*/ 4659090 h 4671148"/>
              <a:gd name="connsiteX30" fmla="*/ 0 w 4442430"/>
              <a:gd name="connsiteY30" fmla="*/ 2335574 h 4671148"/>
              <a:gd name="connsiteX31" fmla="*/ 183541 w 4442430"/>
              <a:gd name="connsiteY31" fmla="*/ 1426463 h 4671148"/>
              <a:gd name="connsiteX32" fmla="*/ 203538 w 4442430"/>
              <a:gd name="connsiteY32" fmla="*/ 1384952 h 4671148"/>
              <a:gd name="connsiteX33" fmla="*/ 625183 w 4442430"/>
              <a:gd name="connsiteY33" fmla="*/ 1383056 h 4671148"/>
              <a:gd name="connsiteX34" fmla="*/ 4442430 w 4442430"/>
              <a:gd name="connsiteY34" fmla="*/ 1321296 h 4671148"/>
              <a:gd name="connsiteX35" fmla="*/ 4439266 w 4442430"/>
              <a:gd name="connsiteY35" fmla="*/ 1326113 h 4671148"/>
              <a:gd name="connsiteX36" fmla="*/ 4442430 w 4442430"/>
              <a:gd name="connsiteY36" fmla="*/ 1321296 h 4671148"/>
              <a:gd name="connsiteX37" fmla="*/ 259711 w 4442430"/>
              <a:gd name="connsiteY37" fmla="*/ 1268344 h 4671148"/>
              <a:gd name="connsiteX38" fmla="*/ 203538 w 4442430"/>
              <a:gd name="connsiteY38" fmla="*/ 1384952 h 4671148"/>
              <a:gd name="connsiteX39" fmla="*/ 191412 w 4442430"/>
              <a:gd name="connsiteY39" fmla="*/ 1385006 h 4671148"/>
              <a:gd name="connsiteX40" fmla="*/ 256350 w 4442430"/>
              <a:gd name="connsiteY40" fmla="*/ 1268359 h 4671148"/>
              <a:gd name="connsiteX41" fmla="*/ 259711 w 4442430"/>
              <a:gd name="connsiteY41" fmla="*/ 1268344 h 4671148"/>
              <a:gd name="connsiteX42" fmla="*/ 2335574 w 4442430"/>
              <a:gd name="connsiteY42" fmla="*/ 0 h 4671148"/>
              <a:gd name="connsiteX43" fmla="*/ 4389257 w 4442430"/>
              <a:gd name="connsiteY43" fmla="*/ 1222301 h 4671148"/>
              <a:gd name="connsiteX44" fmla="*/ 4439266 w 4442430"/>
              <a:gd name="connsiteY44" fmla="*/ 1326113 h 4671148"/>
              <a:gd name="connsiteX45" fmla="*/ 4204258 w 4442430"/>
              <a:gd name="connsiteY45" fmla="*/ 1683835 h 4671148"/>
              <a:gd name="connsiteX46" fmla="*/ 3779224 w 4442430"/>
              <a:gd name="connsiteY46" fmla="*/ 1668782 h 4671148"/>
              <a:gd name="connsiteX47" fmla="*/ 3734995 w 4442430"/>
              <a:gd name="connsiteY47" fmla="*/ 1576967 h 4671148"/>
              <a:gd name="connsiteX48" fmla="*/ 2335574 w 4442430"/>
              <a:gd name="connsiteY48" fmla="*/ 744067 h 4671148"/>
              <a:gd name="connsiteX49" fmla="*/ 936154 w 4442430"/>
              <a:gd name="connsiteY49" fmla="*/ 1576967 h 4671148"/>
              <a:gd name="connsiteX50" fmla="*/ 911753 w 4442430"/>
              <a:gd name="connsiteY50" fmla="*/ 1627620 h 4671148"/>
              <a:gd name="connsiteX51" fmla="*/ 690121 w 4442430"/>
              <a:gd name="connsiteY51" fmla="*/ 1266408 h 4671148"/>
              <a:gd name="connsiteX52" fmla="*/ 259711 w 4442430"/>
              <a:gd name="connsiteY52" fmla="*/ 1268344 h 4671148"/>
              <a:gd name="connsiteX53" fmla="*/ 281891 w 4442430"/>
              <a:gd name="connsiteY53" fmla="*/ 1222301 h 4671148"/>
              <a:gd name="connsiteX54" fmla="*/ 2335574 w 4442430"/>
              <a:gd name="connsiteY54"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2172852 w 4442430"/>
              <a:gd name="connsiteY25" fmla="*/ 3918864 h 4671148"/>
              <a:gd name="connsiteX26" fmla="*/ 2177176 w 4442430"/>
              <a:gd name="connsiteY26" fmla="*/ 3919083 h 4671148"/>
              <a:gd name="connsiteX27" fmla="*/ 1966751 w 4442430"/>
              <a:gd name="connsiteY27" fmla="*/ 4293098 h 4671148"/>
              <a:gd name="connsiteX28" fmla="*/ 2174881 w 4442430"/>
              <a:gd name="connsiteY28" fmla="*/ 4663034 h 4671148"/>
              <a:gd name="connsiteX29" fmla="*/ 2096775 w 4442430"/>
              <a:gd name="connsiteY29" fmla="*/ 4659090 h 4671148"/>
              <a:gd name="connsiteX30" fmla="*/ 0 w 4442430"/>
              <a:gd name="connsiteY30" fmla="*/ 2335574 h 4671148"/>
              <a:gd name="connsiteX31" fmla="*/ 183541 w 4442430"/>
              <a:gd name="connsiteY31" fmla="*/ 1426463 h 4671148"/>
              <a:gd name="connsiteX32" fmla="*/ 203538 w 4442430"/>
              <a:gd name="connsiteY32" fmla="*/ 1384952 h 4671148"/>
              <a:gd name="connsiteX33" fmla="*/ 625183 w 4442430"/>
              <a:gd name="connsiteY33" fmla="*/ 1383056 h 4671148"/>
              <a:gd name="connsiteX34" fmla="*/ 4442430 w 4442430"/>
              <a:gd name="connsiteY34" fmla="*/ 1321296 h 4671148"/>
              <a:gd name="connsiteX35" fmla="*/ 4439266 w 4442430"/>
              <a:gd name="connsiteY35" fmla="*/ 1326113 h 4671148"/>
              <a:gd name="connsiteX36" fmla="*/ 4442430 w 4442430"/>
              <a:gd name="connsiteY36" fmla="*/ 1321296 h 4671148"/>
              <a:gd name="connsiteX37" fmla="*/ 259711 w 4442430"/>
              <a:gd name="connsiteY37" fmla="*/ 1268344 h 4671148"/>
              <a:gd name="connsiteX38" fmla="*/ 203538 w 4442430"/>
              <a:gd name="connsiteY38" fmla="*/ 1384952 h 4671148"/>
              <a:gd name="connsiteX39" fmla="*/ 256350 w 4442430"/>
              <a:gd name="connsiteY39" fmla="*/ 1268359 h 4671148"/>
              <a:gd name="connsiteX40" fmla="*/ 259711 w 4442430"/>
              <a:gd name="connsiteY40" fmla="*/ 1268344 h 4671148"/>
              <a:gd name="connsiteX41" fmla="*/ 2335574 w 4442430"/>
              <a:gd name="connsiteY41" fmla="*/ 0 h 4671148"/>
              <a:gd name="connsiteX42" fmla="*/ 4389257 w 4442430"/>
              <a:gd name="connsiteY42" fmla="*/ 1222301 h 4671148"/>
              <a:gd name="connsiteX43" fmla="*/ 4439266 w 4442430"/>
              <a:gd name="connsiteY43" fmla="*/ 1326113 h 4671148"/>
              <a:gd name="connsiteX44" fmla="*/ 4204258 w 4442430"/>
              <a:gd name="connsiteY44" fmla="*/ 1683835 h 4671148"/>
              <a:gd name="connsiteX45" fmla="*/ 3779224 w 4442430"/>
              <a:gd name="connsiteY45" fmla="*/ 1668782 h 4671148"/>
              <a:gd name="connsiteX46" fmla="*/ 3734995 w 4442430"/>
              <a:gd name="connsiteY46" fmla="*/ 1576967 h 4671148"/>
              <a:gd name="connsiteX47" fmla="*/ 2335574 w 4442430"/>
              <a:gd name="connsiteY47" fmla="*/ 744067 h 4671148"/>
              <a:gd name="connsiteX48" fmla="*/ 936154 w 4442430"/>
              <a:gd name="connsiteY48" fmla="*/ 1576967 h 4671148"/>
              <a:gd name="connsiteX49" fmla="*/ 911753 w 4442430"/>
              <a:gd name="connsiteY49" fmla="*/ 1627620 h 4671148"/>
              <a:gd name="connsiteX50" fmla="*/ 690121 w 4442430"/>
              <a:gd name="connsiteY50" fmla="*/ 1266408 h 4671148"/>
              <a:gd name="connsiteX51" fmla="*/ 259711 w 4442430"/>
              <a:gd name="connsiteY51" fmla="*/ 1268344 h 4671148"/>
              <a:gd name="connsiteX52" fmla="*/ 281891 w 4442430"/>
              <a:gd name="connsiteY52" fmla="*/ 1222301 h 4671148"/>
              <a:gd name="connsiteX53" fmla="*/ 2335574 w 4442430"/>
              <a:gd name="connsiteY53"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625183 w 4442430"/>
              <a:gd name="connsiteY24" fmla="*/ 1383056 h 4671148"/>
              <a:gd name="connsiteX25" fmla="*/ 2172852 w 4442430"/>
              <a:gd name="connsiteY25" fmla="*/ 3918864 h 4671148"/>
              <a:gd name="connsiteX26" fmla="*/ 2177176 w 4442430"/>
              <a:gd name="connsiteY26" fmla="*/ 3919083 h 4671148"/>
              <a:gd name="connsiteX27" fmla="*/ 1966751 w 4442430"/>
              <a:gd name="connsiteY27" fmla="*/ 4293098 h 4671148"/>
              <a:gd name="connsiteX28" fmla="*/ 2174881 w 4442430"/>
              <a:gd name="connsiteY28" fmla="*/ 4663034 h 4671148"/>
              <a:gd name="connsiteX29" fmla="*/ 2096775 w 4442430"/>
              <a:gd name="connsiteY29" fmla="*/ 4659090 h 4671148"/>
              <a:gd name="connsiteX30" fmla="*/ 0 w 4442430"/>
              <a:gd name="connsiteY30" fmla="*/ 2335574 h 4671148"/>
              <a:gd name="connsiteX31" fmla="*/ 183541 w 4442430"/>
              <a:gd name="connsiteY31" fmla="*/ 1426463 h 4671148"/>
              <a:gd name="connsiteX32" fmla="*/ 203538 w 4442430"/>
              <a:gd name="connsiteY32" fmla="*/ 1384952 h 4671148"/>
              <a:gd name="connsiteX33" fmla="*/ 625183 w 4442430"/>
              <a:gd name="connsiteY33" fmla="*/ 1383056 h 4671148"/>
              <a:gd name="connsiteX34" fmla="*/ 4442430 w 4442430"/>
              <a:gd name="connsiteY34" fmla="*/ 1321296 h 4671148"/>
              <a:gd name="connsiteX35" fmla="*/ 4439266 w 4442430"/>
              <a:gd name="connsiteY35" fmla="*/ 1326113 h 4671148"/>
              <a:gd name="connsiteX36" fmla="*/ 4442430 w 4442430"/>
              <a:gd name="connsiteY36" fmla="*/ 1321296 h 4671148"/>
              <a:gd name="connsiteX37" fmla="*/ 259711 w 4442430"/>
              <a:gd name="connsiteY37" fmla="*/ 1268344 h 4671148"/>
              <a:gd name="connsiteX38" fmla="*/ 256350 w 4442430"/>
              <a:gd name="connsiteY38" fmla="*/ 1268359 h 4671148"/>
              <a:gd name="connsiteX39" fmla="*/ 259711 w 4442430"/>
              <a:gd name="connsiteY39" fmla="*/ 1268344 h 4671148"/>
              <a:gd name="connsiteX40" fmla="*/ 2335574 w 4442430"/>
              <a:gd name="connsiteY40" fmla="*/ 0 h 4671148"/>
              <a:gd name="connsiteX41" fmla="*/ 4389257 w 4442430"/>
              <a:gd name="connsiteY41" fmla="*/ 1222301 h 4671148"/>
              <a:gd name="connsiteX42" fmla="*/ 4439266 w 4442430"/>
              <a:gd name="connsiteY42" fmla="*/ 1326113 h 4671148"/>
              <a:gd name="connsiteX43" fmla="*/ 4204258 w 4442430"/>
              <a:gd name="connsiteY43" fmla="*/ 1683835 h 4671148"/>
              <a:gd name="connsiteX44" fmla="*/ 3779224 w 4442430"/>
              <a:gd name="connsiteY44" fmla="*/ 1668782 h 4671148"/>
              <a:gd name="connsiteX45" fmla="*/ 3734995 w 4442430"/>
              <a:gd name="connsiteY45" fmla="*/ 1576967 h 4671148"/>
              <a:gd name="connsiteX46" fmla="*/ 2335574 w 4442430"/>
              <a:gd name="connsiteY46" fmla="*/ 744067 h 4671148"/>
              <a:gd name="connsiteX47" fmla="*/ 936154 w 4442430"/>
              <a:gd name="connsiteY47" fmla="*/ 1576967 h 4671148"/>
              <a:gd name="connsiteX48" fmla="*/ 911753 w 4442430"/>
              <a:gd name="connsiteY48" fmla="*/ 1627620 h 4671148"/>
              <a:gd name="connsiteX49" fmla="*/ 690121 w 4442430"/>
              <a:gd name="connsiteY49" fmla="*/ 1266408 h 4671148"/>
              <a:gd name="connsiteX50" fmla="*/ 259711 w 4442430"/>
              <a:gd name="connsiteY50" fmla="*/ 1268344 h 4671148"/>
              <a:gd name="connsiteX51" fmla="*/ 281891 w 4442430"/>
              <a:gd name="connsiteY51" fmla="*/ 1222301 h 4671148"/>
              <a:gd name="connsiteX52" fmla="*/ 2335574 w 4442430"/>
              <a:gd name="connsiteY52"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869136 w 4442430"/>
              <a:gd name="connsiteY16" fmla="*/ 1716088 h 4671148"/>
              <a:gd name="connsiteX17" fmla="*/ 911753 w 4442430"/>
              <a:gd name="connsiteY17" fmla="*/ 1627620 h 4671148"/>
              <a:gd name="connsiteX18" fmla="*/ 2335574 w 4442430"/>
              <a:gd name="connsiteY18" fmla="*/ 3927081 h 4671148"/>
              <a:gd name="connsiteX19" fmla="*/ 2335574 w 4442430"/>
              <a:gd name="connsiteY19" fmla="*/ 4671148 h 4671148"/>
              <a:gd name="connsiteX20" fmla="*/ 2312290 w 4442430"/>
              <a:gd name="connsiteY20" fmla="*/ 4669972 h 4671148"/>
              <a:gd name="connsiteX21" fmla="*/ 2100256 w 4442430"/>
              <a:gd name="connsiteY21" fmla="*/ 4293098 h 4671148"/>
              <a:gd name="connsiteX22" fmla="*/ 2306993 w 4442430"/>
              <a:gd name="connsiteY22" fmla="*/ 3925638 h 4671148"/>
              <a:gd name="connsiteX23" fmla="*/ 2335574 w 4442430"/>
              <a:gd name="connsiteY23" fmla="*/ 3927081 h 4671148"/>
              <a:gd name="connsiteX24" fmla="*/ 203538 w 4442430"/>
              <a:gd name="connsiteY24" fmla="*/ 1384952 h 4671148"/>
              <a:gd name="connsiteX25" fmla="*/ 2172852 w 4442430"/>
              <a:gd name="connsiteY25" fmla="*/ 3918864 h 4671148"/>
              <a:gd name="connsiteX26" fmla="*/ 2177176 w 4442430"/>
              <a:gd name="connsiteY26" fmla="*/ 3919083 h 4671148"/>
              <a:gd name="connsiteX27" fmla="*/ 1966751 w 4442430"/>
              <a:gd name="connsiteY27" fmla="*/ 4293098 h 4671148"/>
              <a:gd name="connsiteX28" fmla="*/ 2174881 w 4442430"/>
              <a:gd name="connsiteY28" fmla="*/ 4663034 h 4671148"/>
              <a:gd name="connsiteX29" fmla="*/ 2096775 w 4442430"/>
              <a:gd name="connsiteY29" fmla="*/ 4659090 h 4671148"/>
              <a:gd name="connsiteX30" fmla="*/ 0 w 4442430"/>
              <a:gd name="connsiteY30" fmla="*/ 2335574 h 4671148"/>
              <a:gd name="connsiteX31" fmla="*/ 183541 w 4442430"/>
              <a:gd name="connsiteY31" fmla="*/ 1426463 h 4671148"/>
              <a:gd name="connsiteX32" fmla="*/ 203538 w 4442430"/>
              <a:gd name="connsiteY32" fmla="*/ 1384952 h 4671148"/>
              <a:gd name="connsiteX33" fmla="*/ 4442430 w 4442430"/>
              <a:gd name="connsiteY33" fmla="*/ 1321296 h 4671148"/>
              <a:gd name="connsiteX34" fmla="*/ 4439266 w 4442430"/>
              <a:gd name="connsiteY34" fmla="*/ 1326113 h 4671148"/>
              <a:gd name="connsiteX35" fmla="*/ 4442430 w 4442430"/>
              <a:gd name="connsiteY35" fmla="*/ 1321296 h 4671148"/>
              <a:gd name="connsiteX36" fmla="*/ 259711 w 4442430"/>
              <a:gd name="connsiteY36" fmla="*/ 1268344 h 4671148"/>
              <a:gd name="connsiteX37" fmla="*/ 256350 w 4442430"/>
              <a:gd name="connsiteY37" fmla="*/ 1268359 h 4671148"/>
              <a:gd name="connsiteX38" fmla="*/ 259711 w 4442430"/>
              <a:gd name="connsiteY38" fmla="*/ 1268344 h 4671148"/>
              <a:gd name="connsiteX39" fmla="*/ 2335574 w 4442430"/>
              <a:gd name="connsiteY39" fmla="*/ 0 h 4671148"/>
              <a:gd name="connsiteX40" fmla="*/ 4389257 w 4442430"/>
              <a:gd name="connsiteY40" fmla="*/ 1222301 h 4671148"/>
              <a:gd name="connsiteX41" fmla="*/ 4439266 w 4442430"/>
              <a:gd name="connsiteY41" fmla="*/ 1326113 h 4671148"/>
              <a:gd name="connsiteX42" fmla="*/ 4204258 w 4442430"/>
              <a:gd name="connsiteY42" fmla="*/ 1683835 h 4671148"/>
              <a:gd name="connsiteX43" fmla="*/ 3779224 w 4442430"/>
              <a:gd name="connsiteY43" fmla="*/ 1668782 h 4671148"/>
              <a:gd name="connsiteX44" fmla="*/ 3734995 w 4442430"/>
              <a:gd name="connsiteY44" fmla="*/ 1576967 h 4671148"/>
              <a:gd name="connsiteX45" fmla="*/ 2335574 w 4442430"/>
              <a:gd name="connsiteY45" fmla="*/ 744067 h 4671148"/>
              <a:gd name="connsiteX46" fmla="*/ 936154 w 4442430"/>
              <a:gd name="connsiteY46" fmla="*/ 1576967 h 4671148"/>
              <a:gd name="connsiteX47" fmla="*/ 911753 w 4442430"/>
              <a:gd name="connsiteY47" fmla="*/ 1627620 h 4671148"/>
              <a:gd name="connsiteX48" fmla="*/ 690121 w 4442430"/>
              <a:gd name="connsiteY48" fmla="*/ 1266408 h 4671148"/>
              <a:gd name="connsiteX49" fmla="*/ 259711 w 4442430"/>
              <a:gd name="connsiteY49" fmla="*/ 1268344 h 4671148"/>
              <a:gd name="connsiteX50" fmla="*/ 281891 w 4442430"/>
              <a:gd name="connsiteY50" fmla="*/ 1222301 h 4671148"/>
              <a:gd name="connsiteX51" fmla="*/ 2335574 w 4442430"/>
              <a:gd name="connsiteY51"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862742 w 4442430"/>
              <a:gd name="connsiteY15" fmla="*/ 1733555 h 4671148"/>
              <a:gd name="connsiteX16" fmla="*/ 911753 w 4442430"/>
              <a:gd name="connsiteY16" fmla="*/ 1627620 h 4671148"/>
              <a:gd name="connsiteX17" fmla="*/ 2335574 w 4442430"/>
              <a:gd name="connsiteY17" fmla="*/ 3927081 h 4671148"/>
              <a:gd name="connsiteX18" fmla="*/ 2335574 w 4442430"/>
              <a:gd name="connsiteY18" fmla="*/ 4671148 h 4671148"/>
              <a:gd name="connsiteX19" fmla="*/ 2312290 w 4442430"/>
              <a:gd name="connsiteY19" fmla="*/ 4669972 h 4671148"/>
              <a:gd name="connsiteX20" fmla="*/ 2100256 w 4442430"/>
              <a:gd name="connsiteY20" fmla="*/ 4293098 h 4671148"/>
              <a:gd name="connsiteX21" fmla="*/ 2306993 w 4442430"/>
              <a:gd name="connsiteY21" fmla="*/ 3925638 h 4671148"/>
              <a:gd name="connsiteX22" fmla="*/ 2335574 w 4442430"/>
              <a:gd name="connsiteY22" fmla="*/ 3927081 h 4671148"/>
              <a:gd name="connsiteX23" fmla="*/ 203538 w 4442430"/>
              <a:gd name="connsiteY23" fmla="*/ 1384952 h 4671148"/>
              <a:gd name="connsiteX24" fmla="*/ 2172852 w 4442430"/>
              <a:gd name="connsiteY24" fmla="*/ 3918864 h 4671148"/>
              <a:gd name="connsiteX25" fmla="*/ 2177176 w 4442430"/>
              <a:gd name="connsiteY25" fmla="*/ 3919083 h 4671148"/>
              <a:gd name="connsiteX26" fmla="*/ 1966751 w 4442430"/>
              <a:gd name="connsiteY26" fmla="*/ 4293098 h 4671148"/>
              <a:gd name="connsiteX27" fmla="*/ 2174881 w 4442430"/>
              <a:gd name="connsiteY27" fmla="*/ 4663034 h 4671148"/>
              <a:gd name="connsiteX28" fmla="*/ 2096775 w 4442430"/>
              <a:gd name="connsiteY28" fmla="*/ 4659090 h 4671148"/>
              <a:gd name="connsiteX29" fmla="*/ 0 w 4442430"/>
              <a:gd name="connsiteY29" fmla="*/ 2335574 h 4671148"/>
              <a:gd name="connsiteX30" fmla="*/ 183541 w 4442430"/>
              <a:gd name="connsiteY30" fmla="*/ 1426463 h 4671148"/>
              <a:gd name="connsiteX31" fmla="*/ 203538 w 4442430"/>
              <a:gd name="connsiteY31" fmla="*/ 1384952 h 4671148"/>
              <a:gd name="connsiteX32" fmla="*/ 4442430 w 4442430"/>
              <a:gd name="connsiteY32" fmla="*/ 1321296 h 4671148"/>
              <a:gd name="connsiteX33" fmla="*/ 4439266 w 4442430"/>
              <a:gd name="connsiteY33" fmla="*/ 1326113 h 4671148"/>
              <a:gd name="connsiteX34" fmla="*/ 4442430 w 4442430"/>
              <a:gd name="connsiteY34" fmla="*/ 1321296 h 4671148"/>
              <a:gd name="connsiteX35" fmla="*/ 259711 w 4442430"/>
              <a:gd name="connsiteY35" fmla="*/ 1268344 h 4671148"/>
              <a:gd name="connsiteX36" fmla="*/ 256350 w 4442430"/>
              <a:gd name="connsiteY36" fmla="*/ 1268359 h 4671148"/>
              <a:gd name="connsiteX37" fmla="*/ 259711 w 4442430"/>
              <a:gd name="connsiteY37" fmla="*/ 1268344 h 4671148"/>
              <a:gd name="connsiteX38" fmla="*/ 2335574 w 4442430"/>
              <a:gd name="connsiteY38" fmla="*/ 0 h 4671148"/>
              <a:gd name="connsiteX39" fmla="*/ 4389257 w 4442430"/>
              <a:gd name="connsiteY39" fmla="*/ 1222301 h 4671148"/>
              <a:gd name="connsiteX40" fmla="*/ 4439266 w 4442430"/>
              <a:gd name="connsiteY40" fmla="*/ 1326113 h 4671148"/>
              <a:gd name="connsiteX41" fmla="*/ 4204258 w 4442430"/>
              <a:gd name="connsiteY41" fmla="*/ 1683835 h 4671148"/>
              <a:gd name="connsiteX42" fmla="*/ 3779224 w 4442430"/>
              <a:gd name="connsiteY42" fmla="*/ 1668782 h 4671148"/>
              <a:gd name="connsiteX43" fmla="*/ 3734995 w 4442430"/>
              <a:gd name="connsiteY43" fmla="*/ 1576967 h 4671148"/>
              <a:gd name="connsiteX44" fmla="*/ 2335574 w 4442430"/>
              <a:gd name="connsiteY44" fmla="*/ 744067 h 4671148"/>
              <a:gd name="connsiteX45" fmla="*/ 936154 w 4442430"/>
              <a:gd name="connsiteY45" fmla="*/ 1576967 h 4671148"/>
              <a:gd name="connsiteX46" fmla="*/ 911753 w 4442430"/>
              <a:gd name="connsiteY46" fmla="*/ 1627620 h 4671148"/>
              <a:gd name="connsiteX47" fmla="*/ 690121 w 4442430"/>
              <a:gd name="connsiteY47" fmla="*/ 1266408 h 4671148"/>
              <a:gd name="connsiteX48" fmla="*/ 259711 w 4442430"/>
              <a:gd name="connsiteY48" fmla="*/ 1268344 h 4671148"/>
              <a:gd name="connsiteX49" fmla="*/ 281891 w 4442430"/>
              <a:gd name="connsiteY49" fmla="*/ 1222301 h 4671148"/>
              <a:gd name="connsiteX50" fmla="*/ 2335574 w 4442430"/>
              <a:gd name="connsiteY50"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911753 w 4442430"/>
              <a:gd name="connsiteY15" fmla="*/ 1627620 h 4671148"/>
              <a:gd name="connsiteX16" fmla="*/ 2335574 w 4442430"/>
              <a:gd name="connsiteY16" fmla="*/ 3927081 h 4671148"/>
              <a:gd name="connsiteX17" fmla="*/ 2335574 w 4442430"/>
              <a:gd name="connsiteY17" fmla="*/ 4671148 h 4671148"/>
              <a:gd name="connsiteX18" fmla="*/ 2312290 w 4442430"/>
              <a:gd name="connsiteY18" fmla="*/ 4669972 h 4671148"/>
              <a:gd name="connsiteX19" fmla="*/ 2100256 w 4442430"/>
              <a:gd name="connsiteY19" fmla="*/ 4293098 h 4671148"/>
              <a:gd name="connsiteX20" fmla="*/ 2306993 w 4442430"/>
              <a:gd name="connsiteY20" fmla="*/ 3925638 h 4671148"/>
              <a:gd name="connsiteX21" fmla="*/ 2335574 w 4442430"/>
              <a:gd name="connsiteY21" fmla="*/ 3927081 h 4671148"/>
              <a:gd name="connsiteX22" fmla="*/ 203538 w 4442430"/>
              <a:gd name="connsiteY22" fmla="*/ 1384952 h 4671148"/>
              <a:gd name="connsiteX23" fmla="*/ 2172852 w 4442430"/>
              <a:gd name="connsiteY23" fmla="*/ 3918864 h 4671148"/>
              <a:gd name="connsiteX24" fmla="*/ 2177176 w 4442430"/>
              <a:gd name="connsiteY24" fmla="*/ 3919083 h 4671148"/>
              <a:gd name="connsiteX25" fmla="*/ 1966751 w 4442430"/>
              <a:gd name="connsiteY25" fmla="*/ 4293098 h 4671148"/>
              <a:gd name="connsiteX26" fmla="*/ 2174881 w 4442430"/>
              <a:gd name="connsiteY26" fmla="*/ 4663034 h 4671148"/>
              <a:gd name="connsiteX27" fmla="*/ 2096775 w 4442430"/>
              <a:gd name="connsiteY27" fmla="*/ 4659090 h 4671148"/>
              <a:gd name="connsiteX28" fmla="*/ 0 w 4442430"/>
              <a:gd name="connsiteY28" fmla="*/ 2335574 h 4671148"/>
              <a:gd name="connsiteX29" fmla="*/ 183541 w 4442430"/>
              <a:gd name="connsiteY29" fmla="*/ 1426463 h 4671148"/>
              <a:gd name="connsiteX30" fmla="*/ 203538 w 4442430"/>
              <a:gd name="connsiteY30" fmla="*/ 1384952 h 4671148"/>
              <a:gd name="connsiteX31" fmla="*/ 4442430 w 4442430"/>
              <a:gd name="connsiteY31" fmla="*/ 1321296 h 4671148"/>
              <a:gd name="connsiteX32" fmla="*/ 4439266 w 4442430"/>
              <a:gd name="connsiteY32" fmla="*/ 1326113 h 4671148"/>
              <a:gd name="connsiteX33" fmla="*/ 4442430 w 4442430"/>
              <a:gd name="connsiteY33" fmla="*/ 1321296 h 4671148"/>
              <a:gd name="connsiteX34" fmla="*/ 259711 w 4442430"/>
              <a:gd name="connsiteY34" fmla="*/ 1268344 h 4671148"/>
              <a:gd name="connsiteX35" fmla="*/ 256350 w 4442430"/>
              <a:gd name="connsiteY35" fmla="*/ 1268359 h 4671148"/>
              <a:gd name="connsiteX36" fmla="*/ 259711 w 4442430"/>
              <a:gd name="connsiteY36" fmla="*/ 1268344 h 4671148"/>
              <a:gd name="connsiteX37" fmla="*/ 2335574 w 4442430"/>
              <a:gd name="connsiteY37" fmla="*/ 0 h 4671148"/>
              <a:gd name="connsiteX38" fmla="*/ 4389257 w 4442430"/>
              <a:gd name="connsiteY38" fmla="*/ 1222301 h 4671148"/>
              <a:gd name="connsiteX39" fmla="*/ 4439266 w 4442430"/>
              <a:gd name="connsiteY39" fmla="*/ 1326113 h 4671148"/>
              <a:gd name="connsiteX40" fmla="*/ 4204258 w 4442430"/>
              <a:gd name="connsiteY40" fmla="*/ 1683835 h 4671148"/>
              <a:gd name="connsiteX41" fmla="*/ 3779224 w 4442430"/>
              <a:gd name="connsiteY41" fmla="*/ 1668782 h 4671148"/>
              <a:gd name="connsiteX42" fmla="*/ 3734995 w 4442430"/>
              <a:gd name="connsiteY42" fmla="*/ 1576967 h 4671148"/>
              <a:gd name="connsiteX43" fmla="*/ 2335574 w 4442430"/>
              <a:gd name="connsiteY43" fmla="*/ 744067 h 4671148"/>
              <a:gd name="connsiteX44" fmla="*/ 936154 w 4442430"/>
              <a:gd name="connsiteY44" fmla="*/ 1576967 h 4671148"/>
              <a:gd name="connsiteX45" fmla="*/ 911753 w 4442430"/>
              <a:gd name="connsiteY45" fmla="*/ 1627620 h 4671148"/>
              <a:gd name="connsiteX46" fmla="*/ 690121 w 4442430"/>
              <a:gd name="connsiteY46" fmla="*/ 1266408 h 4671148"/>
              <a:gd name="connsiteX47" fmla="*/ 259711 w 4442430"/>
              <a:gd name="connsiteY47" fmla="*/ 1268344 h 4671148"/>
              <a:gd name="connsiteX48" fmla="*/ 281891 w 4442430"/>
              <a:gd name="connsiteY48" fmla="*/ 1222301 h 4671148"/>
              <a:gd name="connsiteX49" fmla="*/ 2335574 w 4442430"/>
              <a:gd name="connsiteY49" fmla="*/ 0 h 4671148"/>
              <a:gd name="connsiteX0" fmla="*/ 2174881 w 4442430"/>
              <a:gd name="connsiteY0" fmla="*/ 4663034 h 4671148"/>
              <a:gd name="connsiteX1" fmla="*/ 2312290 w 4442430"/>
              <a:gd name="connsiteY1" fmla="*/ 4669972 h 4671148"/>
              <a:gd name="connsiteX2" fmla="*/ 2312951 w 4442430"/>
              <a:gd name="connsiteY2" fmla="*/ 4671148 h 4671148"/>
              <a:gd name="connsiteX3" fmla="*/ 2179446 w 4442430"/>
              <a:gd name="connsiteY3" fmla="*/ 4671148 h 4671148"/>
              <a:gd name="connsiteX4" fmla="*/ 2174881 w 4442430"/>
              <a:gd name="connsiteY4" fmla="*/ 4663034 h 4671148"/>
              <a:gd name="connsiteX5" fmla="*/ 2179446 w 4442430"/>
              <a:gd name="connsiteY5" fmla="*/ 3915048 h 4671148"/>
              <a:gd name="connsiteX6" fmla="*/ 2312951 w 4442430"/>
              <a:gd name="connsiteY6" fmla="*/ 3915048 h 4671148"/>
              <a:gd name="connsiteX7" fmla="*/ 2306993 w 4442430"/>
              <a:gd name="connsiteY7" fmla="*/ 3925638 h 4671148"/>
              <a:gd name="connsiteX8" fmla="*/ 2177176 w 4442430"/>
              <a:gd name="connsiteY8" fmla="*/ 3919083 h 4671148"/>
              <a:gd name="connsiteX9" fmla="*/ 2179446 w 4442430"/>
              <a:gd name="connsiteY9" fmla="*/ 3915048 h 4671148"/>
              <a:gd name="connsiteX10" fmla="*/ 3770754 w 4442430"/>
              <a:gd name="connsiteY10" fmla="*/ 1668482 h 4671148"/>
              <a:gd name="connsiteX11" fmla="*/ 3779224 w 4442430"/>
              <a:gd name="connsiteY11" fmla="*/ 1668782 h 4671148"/>
              <a:gd name="connsiteX12" fmla="*/ 3770754 w 4442430"/>
              <a:gd name="connsiteY12" fmla="*/ 1668482 h 4671148"/>
              <a:gd name="connsiteX13" fmla="*/ 911753 w 4442430"/>
              <a:gd name="connsiteY13" fmla="*/ 1627620 h 4671148"/>
              <a:gd name="connsiteX14" fmla="*/ 916978 w 4442430"/>
              <a:gd name="connsiteY14" fmla="*/ 1636134 h 4671148"/>
              <a:gd name="connsiteX15" fmla="*/ 911753 w 4442430"/>
              <a:gd name="connsiteY15" fmla="*/ 1627620 h 4671148"/>
              <a:gd name="connsiteX16" fmla="*/ 2335574 w 4442430"/>
              <a:gd name="connsiteY16" fmla="*/ 3927081 h 4671148"/>
              <a:gd name="connsiteX17" fmla="*/ 2335574 w 4442430"/>
              <a:gd name="connsiteY17" fmla="*/ 4671148 h 4671148"/>
              <a:gd name="connsiteX18" fmla="*/ 2312290 w 4442430"/>
              <a:gd name="connsiteY18" fmla="*/ 4669972 h 4671148"/>
              <a:gd name="connsiteX19" fmla="*/ 2100256 w 4442430"/>
              <a:gd name="connsiteY19" fmla="*/ 4293098 h 4671148"/>
              <a:gd name="connsiteX20" fmla="*/ 2306993 w 4442430"/>
              <a:gd name="connsiteY20" fmla="*/ 3925638 h 4671148"/>
              <a:gd name="connsiteX21" fmla="*/ 2335574 w 4442430"/>
              <a:gd name="connsiteY21" fmla="*/ 3927081 h 4671148"/>
              <a:gd name="connsiteX22" fmla="*/ 183541 w 4442430"/>
              <a:gd name="connsiteY22" fmla="*/ 1426463 h 4671148"/>
              <a:gd name="connsiteX23" fmla="*/ 2172852 w 4442430"/>
              <a:gd name="connsiteY23" fmla="*/ 3918864 h 4671148"/>
              <a:gd name="connsiteX24" fmla="*/ 2177176 w 4442430"/>
              <a:gd name="connsiteY24" fmla="*/ 3919083 h 4671148"/>
              <a:gd name="connsiteX25" fmla="*/ 1966751 w 4442430"/>
              <a:gd name="connsiteY25" fmla="*/ 4293098 h 4671148"/>
              <a:gd name="connsiteX26" fmla="*/ 2174881 w 4442430"/>
              <a:gd name="connsiteY26" fmla="*/ 4663034 h 4671148"/>
              <a:gd name="connsiteX27" fmla="*/ 2096775 w 4442430"/>
              <a:gd name="connsiteY27" fmla="*/ 4659090 h 4671148"/>
              <a:gd name="connsiteX28" fmla="*/ 0 w 4442430"/>
              <a:gd name="connsiteY28" fmla="*/ 2335574 h 4671148"/>
              <a:gd name="connsiteX29" fmla="*/ 183541 w 4442430"/>
              <a:gd name="connsiteY29" fmla="*/ 1426463 h 4671148"/>
              <a:gd name="connsiteX30" fmla="*/ 4442430 w 4442430"/>
              <a:gd name="connsiteY30" fmla="*/ 1321296 h 4671148"/>
              <a:gd name="connsiteX31" fmla="*/ 4439266 w 4442430"/>
              <a:gd name="connsiteY31" fmla="*/ 1326113 h 4671148"/>
              <a:gd name="connsiteX32" fmla="*/ 4442430 w 4442430"/>
              <a:gd name="connsiteY32" fmla="*/ 1321296 h 4671148"/>
              <a:gd name="connsiteX33" fmla="*/ 259711 w 4442430"/>
              <a:gd name="connsiteY33" fmla="*/ 1268344 h 4671148"/>
              <a:gd name="connsiteX34" fmla="*/ 256350 w 4442430"/>
              <a:gd name="connsiteY34" fmla="*/ 1268359 h 4671148"/>
              <a:gd name="connsiteX35" fmla="*/ 259711 w 4442430"/>
              <a:gd name="connsiteY35" fmla="*/ 1268344 h 4671148"/>
              <a:gd name="connsiteX36" fmla="*/ 2335574 w 4442430"/>
              <a:gd name="connsiteY36" fmla="*/ 0 h 4671148"/>
              <a:gd name="connsiteX37" fmla="*/ 4389257 w 4442430"/>
              <a:gd name="connsiteY37" fmla="*/ 1222301 h 4671148"/>
              <a:gd name="connsiteX38" fmla="*/ 4439266 w 4442430"/>
              <a:gd name="connsiteY38" fmla="*/ 1326113 h 4671148"/>
              <a:gd name="connsiteX39" fmla="*/ 4204258 w 4442430"/>
              <a:gd name="connsiteY39" fmla="*/ 1683835 h 4671148"/>
              <a:gd name="connsiteX40" fmla="*/ 3779224 w 4442430"/>
              <a:gd name="connsiteY40" fmla="*/ 1668782 h 4671148"/>
              <a:gd name="connsiteX41" fmla="*/ 3734995 w 4442430"/>
              <a:gd name="connsiteY41" fmla="*/ 1576967 h 4671148"/>
              <a:gd name="connsiteX42" fmla="*/ 2335574 w 4442430"/>
              <a:gd name="connsiteY42" fmla="*/ 744067 h 4671148"/>
              <a:gd name="connsiteX43" fmla="*/ 936154 w 4442430"/>
              <a:gd name="connsiteY43" fmla="*/ 1576967 h 4671148"/>
              <a:gd name="connsiteX44" fmla="*/ 911753 w 4442430"/>
              <a:gd name="connsiteY44" fmla="*/ 1627620 h 4671148"/>
              <a:gd name="connsiteX45" fmla="*/ 690121 w 4442430"/>
              <a:gd name="connsiteY45" fmla="*/ 1266408 h 4671148"/>
              <a:gd name="connsiteX46" fmla="*/ 259711 w 4442430"/>
              <a:gd name="connsiteY46" fmla="*/ 1268344 h 4671148"/>
              <a:gd name="connsiteX47" fmla="*/ 281891 w 4442430"/>
              <a:gd name="connsiteY47" fmla="*/ 1222301 h 4671148"/>
              <a:gd name="connsiteX48" fmla="*/ 2335574 w 4442430"/>
              <a:gd name="connsiteY48" fmla="*/ 0 h 4671148"/>
              <a:gd name="connsiteX0" fmla="*/ 2175008 w 4442557"/>
              <a:gd name="connsiteY0" fmla="*/ 4663034 h 4671148"/>
              <a:gd name="connsiteX1" fmla="*/ 2312417 w 4442557"/>
              <a:gd name="connsiteY1" fmla="*/ 4669972 h 4671148"/>
              <a:gd name="connsiteX2" fmla="*/ 2313078 w 4442557"/>
              <a:gd name="connsiteY2" fmla="*/ 4671148 h 4671148"/>
              <a:gd name="connsiteX3" fmla="*/ 2179573 w 4442557"/>
              <a:gd name="connsiteY3" fmla="*/ 4671148 h 4671148"/>
              <a:gd name="connsiteX4" fmla="*/ 2175008 w 4442557"/>
              <a:gd name="connsiteY4" fmla="*/ 4663034 h 4671148"/>
              <a:gd name="connsiteX5" fmla="*/ 2179573 w 4442557"/>
              <a:gd name="connsiteY5" fmla="*/ 3915048 h 4671148"/>
              <a:gd name="connsiteX6" fmla="*/ 2313078 w 4442557"/>
              <a:gd name="connsiteY6" fmla="*/ 3915048 h 4671148"/>
              <a:gd name="connsiteX7" fmla="*/ 2307120 w 4442557"/>
              <a:gd name="connsiteY7" fmla="*/ 3925638 h 4671148"/>
              <a:gd name="connsiteX8" fmla="*/ 2177303 w 4442557"/>
              <a:gd name="connsiteY8" fmla="*/ 3919083 h 4671148"/>
              <a:gd name="connsiteX9" fmla="*/ 2179573 w 4442557"/>
              <a:gd name="connsiteY9" fmla="*/ 3915048 h 4671148"/>
              <a:gd name="connsiteX10" fmla="*/ 3770881 w 4442557"/>
              <a:gd name="connsiteY10" fmla="*/ 1668482 h 4671148"/>
              <a:gd name="connsiteX11" fmla="*/ 3779351 w 4442557"/>
              <a:gd name="connsiteY11" fmla="*/ 1668782 h 4671148"/>
              <a:gd name="connsiteX12" fmla="*/ 3770881 w 4442557"/>
              <a:gd name="connsiteY12" fmla="*/ 1668482 h 4671148"/>
              <a:gd name="connsiteX13" fmla="*/ 911880 w 4442557"/>
              <a:gd name="connsiteY13" fmla="*/ 1627620 h 4671148"/>
              <a:gd name="connsiteX14" fmla="*/ 917105 w 4442557"/>
              <a:gd name="connsiteY14" fmla="*/ 1636134 h 4671148"/>
              <a:gd name="connsiteX15" fmla="*/ 911880 w 4442557"/>
              <a:gd name="connsiteY15" fmla="*/ 1627620 h 4671148"/>
              <a:gd name="connsiteX16" fmla="*/ 2335701 w 4442557"/>
              <a:gd name="connsiteY16" fmla="*/ 3927081 h 4671148"/>
              <a:gd name="connsiteX17" fmla="*/ 2335701 w 4442557"/>
              <a:gd name="connsiteY17" fmla="*/ 4671148 h 4671148"/>
              <a:gd name="connsiteX18" fmla="*/ 2312417 w 4442557"/>
              <a:gd name="connsiteY18" fmla="*/ 4669972 h 4671148"/>
              <a:gd name="connsiteX19" fmla="*/ 2100383 w 4442557"/>
              <a:gd name="connsiteY19" fmla="*/ 4293098 h 4671148"/>
              <a:gd name="connsiteX20" fmla="*/ 2307120 w 4442557"/>
              <a:gd name="connsiteY20" fmla="*/ 3925638 h 4671148"/>
              <a:gd name="connsiteX21" fmla="*/ 2335701 w 4442557"/>
              <a:gd name="connsiteY21" fmla="*/ 3927081 h 4671148"/>
              <a:gd name="connsiteX22" fmla="*/ 127 w 4442557"/>
              <a:gd name="connsiteY22" fmla="*/ 2335574 h 4671148"/>
              <a:gd name="connsiteX23" fmla="*/ 2172979 w 4442557"/>
              <a:gd name="connsiteY23" fmla="*/ 3918864 h 4671148"/>
              <a:gd name="connsiteX24" fmla="*/ 2177303 w 4442557"/>
              <a:gd name="connsiteY24" fmla="*/ 3919083 h 4671148"/>
              <a:gd name="connsiteX25" fmla="*/ 1966878 w 4442557"/>
              <a:gd name="connsiteY25" fmla="*/ 4293098 h 4671148"/>
              <a:gd name="connsiteX26" fmla="*/ 2175008 w 4442557"/>
              <a:gd name="connsiteY26" fmla="*/ 4663034 h 4671148"/>
              <a:gd name="connsiteX27" fmla="*/ 2096902 w 4442557"/>
              <a:gd name="connsiteY27" fmla="*/ 4659090 h 4671148"/>
              <a:gd name="connsiteX28" fmla="*/ 127 w 4442557"/>
              <a:gd name="connsiteY28" fmla="*/ 2335574 h 4671148"/>
              <a:gd name="connsiteX29" fmla="*/ 4442557 w 4442557"/>
              <a:gd name="connsiteY29" fmla="*/ 1321296 h 4671148"/>
              <a:gd name="connsiteX30" fmla="*/ 4439393 w 4442557"/>
              <a:gd name="connsiteY30" fmla="*/ 1326113 h 4671148"/>
              <a:gd name="connsiteX31" fmla="*/ 4442557 w 4442557"/>
              <a:gd name="connsiteY31" fmla="*/ 1321296 h 4671148"/>
              <a:gd name="connsiteX32" fmla="*/ 259838 w 4442557"/>
              <a:gd name="connsiteY32" fmla="*/ 1268344 h 4671148"/>
              <a:gd name="connsiteX33" fmla="*/ 256477 w 4442557"/>
              <a:gd name="connsiteY33" fmla="*/ 1268359 h 4671148"/>
              <a:gd name="connsiteX34" fmla="*/ 259838 w 4442557"/>
              <a:gd name="connsiteY34" fmla="*/ 1268344 h 4671148"/>
              <a:gd name="connsiteX35" fmla="*/ 2335701 w 4442557"/>
              <a:gd name="connsiteY35" fmla="*/ 0 h 4671148"/>
              <a:gd name="connsiteX36" fmla="*/ 4389384 w 4442557"/>
              <a:gd name="connsiteY36" fmla="*/ 1222301 h 4671148"/>
              <a:gd name="connsiteX37" fmla="*/ 4439393 w 4442557"/>
              <a:gd name="connsiteY37" fmla="*/ 1326113 h 4671148"/>
              <a:gd name="connsiteX38" fmla="*/ 4204385 w 4442557"/>
              <a:gd name="connsiteY38" fmla="*/ 1683835 h 4671148"/>
              <a:gd name="connsiteX39" fmla="*/ 3779351 w 4442557"/>
              <a:gd name="connsiteY39" fmla="*/ 1668782 h 4671148"/>
              <a:gd name="connsiteX40" fmla="*/ 3735122 w 4442557"/>
              <a:gd name="connsiteY40" fmla="*/ 1576967 h 4671148"/>
              <a:gd name="connsiteX41" fmla="*/ 2335701 w 4442557"/>
              <a:gd name="connsiteY41" fmla="*/ 744067 h 4671148"/>
              <a:gd name="connsiteX42" fmla="*/ 936281 w 4442557"/>
              <a:gd name="connsiteY42" fmla="*/ 1576967 h 4671148"/>
              <a:gd name="connsiteX43" fmla="*/ 911880 w 4442557"/>
              <a:gd name="connsiteY43" fmla="*/ 1627620 h 4671148"/>
              <a:gd name="connsiteX44" fmla="*/ 690248 w 4442557"/>
              <a:gd name="connsiteY44" fmla="*/ 1266408 h 4671148"/>
              <a:gd name="connsiteX45" fmla="*/ 259838 w 4442557"/>
              <a:gd name="connsiteY45" fmla="*/ 1268344 h 4671148"/>
              <a:gd name="connsiteX46" fmla="*/ 282018 w 4442557"/>
              <a:gd name="connsiteY46" fmla="*/ 1222301 h 4671148"/>
              <a:gd name="connsiteX47" fmla="*/ 2335701 w 4442557"/>
              <a:gd name="connsiteY47"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79224 w 4186080"/>
              <a:gd name="connsiteY16" fmla="*/ 3927081 h 4671148"/>
              <a:gd name="connsiteX17" fmla="*/ 2079224 w 4186080"/>
              <a:gd name="connsiteY17" fmla="*/ 4671148 h 4671148"/>
              <a:gd name="connsiteX18" fmla="*/ 2055940 w 4186080"/>
              <a:gd name="connsiteY18" fmla="*/ 4669972 h 4671148"/>
              <a:gd name="connsiteX19" fmla="*/ 1843906 w 4186080"/>
              <a:gd name="connsiteY19" fmla="*/ 4293098 h 4671148"/>
              <a:gd name="connsiteX20" fmla="*/ 2050643 w 4186080"/>
              <a:gd name="connsiteY20" fmla="*/ 3925638 h 4671148"/>
              <a:gd name="connsiteX21" fmla="*/ 2079224 w 4186080"/>
              <a:gd name="connsiteY21" fmla="*/ 3927081 h 4671148"/>
              <a:gd name="connsiteX22" fmla="*/ 1840425 w 4186080"/>
              <a:gd name="connsiteY22" fmla="*/ 4659090 h 4671148"/>
              <a:gd name="connsiteX23" fmla="*/ 1916502 w 4186080"/>
              <a:gd name="connsiteY23" fmla="*/ 3918864 h 4671148"/>
              <a:gd name="connsiteX24" fmla="*/ 1920826 w 4186080"/>
              <a:gd name="connsiteY24" fmla="*/ 3919083 h 4671148"/>
              <a:gd name="connsiteX25" fmla="*/ 1710401 w 4186080"/>
              <a:gd name="connsiteY25" fmla="*/ 4293098 h 4671148"/>
              <a:gd name="connsiteX26" fmla="*/ 1918531 w 4186080"/>
              <a:gd name="connsiteY26" fmla="*/ 4663034 h 4671148"/>
              <a:gd name="connsiteX27" fmla="*/ 1840425 w 4186080"/>
              <a:gd name="connsiteY27" fmla="*/ 4659090 h 4671148"/>
              <a:gd name="connsiteX28" fmla="*/ 4186080 w 4186080"/>
              <a:gd name="connsiteY28" fmla="*/ 1321296 h 4671148"/>
              <a:gd name="connsiteX29" fmla="*/ 4182916 w 4186080"/>
              <a:gd name="connsiteY29" fmla="*/ 1326113 h 4671148"/>
              <a:gd name="connsiteX30" fmla="*/ 4186080 w 4186080"/>
              <a:gd name="connsiteY30" fmla="*/ 1321296 h 4671148"/>
              <a:gd name="connsiteX31" fmla="*/ 3361 w 4186080"/>
              <a:gd name="connsiteY31" fmla="*/ 1268344 h 4671148"/>
              <a:gd name="connsiteX32" fmla="*/ 0 w 4186080"/>
              <a:gd name="connsiteY32" fmla="*/ 1268359 h 4671148"/>
              <a:gd name="connsiteX33" fmla="*/ 3361 w 4186080"/>
              <a:gd name="connsiteY33" fmla="*/ 1268344 h 4671148"/>
              <a:gd name="connsiteX34" fmla="*/ 2079224 w 4186080"/>
              <a:gd name="connsiteY34" fmla="*/ 0 h 4671148"/>
              <a:gd name="connsiteX35" fmla="*/ 4132907 w 4186080"/>
              <a:gd name="connsiteY35" fmla="*/ 1222301 h 4671148"/>
              <a:gd name="connsiteX36" fmla="*/ 4182916 w 4186080"/>
              <a:gd name="connsiteY36" fmla="*/ 1326113 h 4671148"/>
              <a:gd name="connsiteX37" fmla="*/ 3947908 w 4186080"/>
              <a:gd name="connsiteY37" fmla="*/ 1683835 h 4671148"/>
              <a:gd name="connsiteX38" fmla="*/ 3522874 w 4186080"/>
              <a:gd name="connsiteY38" fmla="*/ 1668782 h 4671148"/>
              <a:gd name="connsiteX39" fmla="*/ 3478645 w 4186080"/>
              <a:gd name="connsiteY39" fmla="*/ 1576967 h 4671148"/>
              <a:gd name="connsiteX40" fmla="*/ 2079224 w 4186080"/>
              <a:gd name="connsiteY40" fmla="*/ 744067 h 4671148"/>
              <a:gd name="connsiteX41" fmla="*/ 679804 w 4186080"/>
              <a:gd name="connsiteY41" fmla="*/ 1576967 h 4671148"/>
              <a:gd name="connsiteX42" fmla="*/ 655403 w 4186080"/>
              <a:gd name="connsiteY42" fmla="*/ 1627620 h 4671148"/>
              <a:gd name="connsiteX43" fmla="*/ 433771 w 4186080"/>
              <a:gd name="connsiteY43" fmla="*/ 1266408 h 4671148"/>
              <a:gd name="connsiteX44" fmla="*/ 3361 w 4186080"/>
              <a:gd name="connsiteY44" fmla="*/ 1268344 h 4671148"/>
              <a:gd name="connsiteX45" fmla="*/ 25541 w 4186080"/>
              <a:gd name="connsiteY45" fmla="*/ 1222301 h 4671148"/>
              <a:gd name="connsiteX46" fmla="*/ 2079224 w 4186080"/>
              <a:gd name="connsiteY46"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79224 w 4186080"/>
              <a:gd name="connsiteY16" fmla="*/ 3927081 h 4671148"/>
              <a:gd name="connsiteX17" fmla="*/ 2079224 w 4186080"/>
              <a:gd name="connsiteY17" fmla="*/ 4671148 h 4671148"/>
              <a:gd name="connsiteX18" fmla="*/ 2055940 w 4186080"/>
              <a:gd name="connsiteY18" fmla="*/ 4669972 h 4671148"/>
              <a:gd name="connsiteX19" fmla="*/ 1843906 w 4186080"/>
              <a:gd name="connsiteY19" fmla="*/ 4293098 h 4671148"/>
              <a:gd name="connsiteX20" fmla="*/ 2050643 w 4186080"/>
              <a:gd name="connsiteY20" fmla="*/ 3925638 h 4671148"/>
              <a:gd name="connsiteX21" fmla="*/ 2079224 w 4186080"/>
              <a:gd name="connsiteY21" fmla="*/ 3927081 h 4671148"/>
              <a:gd name="connsiteX22" fmla="*/ 1840425 w 4186080"/>
              <a:gd name="connsiteY22" fmla="*/ 4659090 h 4671148"/>
              <a:gd name="connsiteX23" fmla="*/ 1916502 w 4186080"/>
              <a:gd name="connsiteY23" fmla="*/ 3918864 h 4671148"/>
              <a:gd name="connsiteX24" fmla="*/ 1920826 w 4186080"/>
              <a:gd name="connsiteY24" fmla="*/ 3919083 h 4671148"/>
              <a:gd name="connsiteX25" fmla="*/ 1918531 w 4186080"/>
              <a:gd name="connsiteY25" fmla="*/ 4663034 h 4671148"/>
              <a:gd name="connsiteX26" fmla="*/ 1840425 w 4186080"/>
              <a:gd name="connsiteY26" fmla="*/ 4659090 h 4671148"/>
              <a:gd name="connsiteX27" fmla="*/ 4186080 w 4186080"/>
              <a:gd name="connsiteY27" fmla="*/ 1321296 h 4671148"/>
              <a:gd name="connsiteX28" fmla="*/ 4182916 w 4186080"/>
              <a:gd name="connsiteY28" fmla="*/ 1326113 h 4671148"/>
              <a:gd name="connsiteX29" fmla="*/ 4186080 w 4186080"/>
              <a:gd name="connsiteY29" fmla="*/ 1321296 h 4671148"/>
              <a:gd name="connsiteX30" fmla="*/ 3361 w 4186080"/>
              <a:gd name="connsiteY30" fmla="*/ 1268344 h 4671148"/>
              <a:gd name="connsiteX31" fmla="*/ 0 w 4186080"/>
              <a:gd name="connsiteY31" fmla="*/ 1268359 h 4671148"/>
              <a:gd name="connsiteX32" fmla="*/ 3361 w 4186080"/>
              <a:gd name="connsiteY32" fmla="*/ 1268344 h 4671148"/>
              <a:gd name="connsiteX33" fmla="*/ 2079224 w 4186080"/>
              <a:gd name="connsiteY33" fmla="*/ 0 h 4671148"/>
              <a:gd name="connsiteX34" fmla="*/ 4132907 w 4186080"/>
              <a:gd name="connsiteY34" fmla="*/ 1222301 h 4671148"/>
              <a:gd name="connsiteX35" fmla="*/ 4182916 w 4186080"/>
              <a:gd name="connsiteY35" fmla="*/ 1326113 h 4671148"/>
              <a:gd name="connsiteX36" fmla="*/ 3947908 w 4186080"/>
              <a:gd name="connsiteY36" fmla="*/ 1683835 h 4671148"/>
              <a:gd name="connsiteX37" fmla="*/ 3522874 w 4186080"/>
              <a:gd name="connsiteY37" fmla="*/ 1668782 h 4671148"/>
              <a:gd name="connsiteX38" fmla="*/ 3478645 w 4186080"/>
              <a:gd name="connsiteY38" fmla="*/ 1576967 h 4671148"/>
              <a:gd name="connsiteX39" fmla="*/ 2079224 w 4186080"/>
              <a:gd name="connsiteY39" fmla="*/ 744067 h 4671148"/>
              <a:gd name="connsiteX40" fmla="*/ 679804 w 4186080"/>
              <a:gd name="connsiteY40" fmla="*/ 1576967 h 4671148"/>
              <a:gd name="connsiteX41" fmla="*/ 655403 w 4186080"/>
              <a:gd name="connsiteY41" fmla="*/ 1627620 h 4671148"/>
              <a:gd name="connsiteX42" fmla="*/ 433771 w 4186080"/>
              <a:gd name="connsiteY42" fmla="*/ 1266408 h 4671148"/>
              <a:gd name="connsiteX43" fmla="*/ 3361 w 4186080"/>
              <a:gd name="connsiteY43" fmla="*/ 1268344 h 4671148"/>
              <a:gd name="connsiteX44" fmla="*/ 25541 w 4186080"/>
              <a:gd name="connsiteY44" fmla="*/ 1222301 h 4671148"/>
              <a:gd name="connsiteX45" fmla="*/ 2079224 w 4186080"/>
              <a:gd name="connsiteY45"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79224 w 4186080"/>
              <a:gd name="connsiteY16" fmla="*/ 3927081 h 4671148"/>
              <a:gd name="connsiteX17" fmla="*/ 2079224 w 4186080"/>
              <a:gd name="connsiteY17" fmla="*/ 4671148 h 4671148"/>
              <a:gd name="connsiteX18" fmla="*/ 2055940 w 4186080"/>
              <a:gd name="connsiteY18" fmla="*/ 4669972 h 4671148"/>
              <a:gd name="connsiteX19" fmla="*/ 2050643 w 4186080"/>
              <a:gd name="connsiteY19" fmla="*/ 3925638 h 4671148"/>
              <a:gd name="connsiteX20" fmla="*/ 2079224 w 4186080"/>
              <a:gd name="connsiteY20" fmla="*/ 3927081 h 4671148"/>
              <a:gd name="connsiteX21" fmla="*/ 1840425 w 4186080"/>
              <a:gd name="connsiteY21" fmla="*/ 4659090 h 4671148"/>
              <a:gd name="connsiteX22" fmla="*/ 1916502 w 4186080"/>
              <a:gd name="connsiteY22" fmla="*/ 3918864 h 4671148"/>
              <a:gd name="connsiteX23" fmla="*/ 1920826 w 4186080"/>
              <a:gd name="connsiteY23" fmla="*/ 3919083 h 4671148"/>
              <a:gd name="connsiteX24" fmla="*/ 1918531 w 4186080"/>
              <a:gd name="connsiteY24" fmla="*/ 4663034 h 4671148"/>
              <a:gd name="connsiteX25" fmla="*/ 1840425 w 4186080"/>
              <a:gd name="connsiteY25" fmla="*/ 4659090 h 4671148"/>
              <a:gd name="connsiteX26" fmla="*/ 4186080 w 4186080"/>
              <a:gd name="connsiteY26" fmla="*/ 1321296 h 4671148"/>
              <a:gd name="connsiteX27" fmla="*/ 4182916 w 4186080"/>
              <a:gd name="connsiteY27" fmla="*/ 1326113 h 4671148"/>
              <a:gd name="connsiteX28" fmla="*/ 4186080 w 4186080"/>
              <a:gd name="connsiteY28" fmla="*/ 1321296 h 4671148"/>
              <a:gd name="connsiteX29" fmla="*/ 3361 w 4186080"/>
              <a:gd name="connsiteY29" fmla="*/ 1268344 h 4671148"/>
              <a:gd name="connsiteX30" fmla="*/ 0 w 4186080"/>
              <a:gd name="connsiteY30" fmla="*/ 1268359 h 4671148"/>
              <a:gd name="connsiteX31" fmla="*/ 3361 w 4186080"/>
              <a:gd name="connsiteY31" fmla="*/ 1268344 h 4671148"/>
              <a:gd name="connsiteX32" fmla="*/ 2079224 w 4186080"/>
              <a:gd name="connsiteY32" fmla="*/ 0 h 4671148"/>
              <a:gd name="connsiteX33" fmla="*/ 4132907 w 4186080"/>
              <a:gd name="connsiteY33" fmla="*/ 1222301 h 4671148"/>
              <a:gd name="connsiteX34" fmla="*/ 4182916 w 4186080"/>
              <a:gd name="connsiteY34" fmla="*/ 1326113 h 4671148"/>
              <a:gd name="connsiteX35" fmla="*/ 3947908 w 4186080"/>
              <a:gd name="connsiteY35" fmla="*/ 1683835 h 4671148"/>
              <a:gd name="connsiteX36" fmla="*/ 3522874 w 4186080"/>
              <a:gd name="connsiteY36" fmla="*/ 1668782 h 4671148"/>
              <a:gd name="connsiteX37" fmla="*/ 3478645 w 4186080"/>
              <a:gd name="connsiteY37" fmla="*/ 1576967 h 4671148"/>
              <a:gd name="connsiteX38" fmla="*/ 2079224 w 4186080"/>
              <a:gd name="connsiteY38" fmla="*/ 744067 h 4671148"/>
              <a:gd name="connsiteX39" fmla="*/ 679804 w 4186080"/>
              <a:gd name="connsiteY39" fmla="*/ 1576967 h 4671148"/>
              <a:gd name="connsiteX40" fmla="*/ 655403 w 4186080"/>
              <a:gd name="connsiteY40" fmla="*/ 1627620 h 4671148"/>
              <a:gd name="connsiteX41" fmla="*/ 433771 w 4186080"/>
              <a:gd name="connsiteY41" fmla="*/ 1266408 h 4671148"/>
              <a:gd name="connsiteX42" fmla="*/ 3361 w 4186080"/>
              <a:gd name="connsiteY42" fmla="*/ 1268344 h 4671148"/>
              <a:gd name="connsiteX43" fmla="*/ 25541 w 4186080"/>
              <a:gd name="connsiteY43" fmla="*/ 1222301 h 4671148"/>
              <a:gd name="connsiteX44" fmla="*/ 2079224 w 4186080"/>
              <a:gd name="connsiteY44"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50643 w 4186080"/>
              <a:gd name="connsiteY16" fmla="*/ 3925638 h 4671148"/>
              <a:gd name="connsiteX17" fmla="*/ 2079224 w 4186080"/>
              <a:gd name="connsiteY17" fmla="*/ 4671148 h 4671148"/>
              <a:gd name="connsiteX18" fmla="*/ 2055940 w 4186080"/>
              <a:gd name="connsiteY18" fmla="*/ 4669972 h 4671148"/>
              <a:gd name="connsiteX19" fmla="*/ 2050643 w 4186080"/>
              <a:gd name="connsiteY19" fmla="*/ 3925638 h 4671148"/>
              <a:gd name="connsiteX20" fmla="*/ 1840425 w 4186080"/>
              <a:gd name="connsiteY20" fmla="*/ 4659090 h 4671148"/>
              <a:gd name="connsiteX21" fmla="*/ 1916502 w 4186080"/>
              <a:gd name="connsiteY21" fmla="*/ 3918864 h 4671148"/>
              <a:gd name="connsiteX22" fmla="*/ 1920826 w 4186080"/>
              <a:gd name="connsiteY22" fmla="*/ 3919083 h 4671148"/>
              <a:gd name="connsiteX23" fmla="*/ 1918531 w 4186080"/>
              <a:gd name="connsiteY23" fmla="*/ 4663034 h 4671148"/>
              <a:gd name="connsiteX24" fmla="*/ 1840425 w 4186080"/>
              <a:gd name="connsiteY24" fmla="*/ 4659090 h 4671148"/>
              <a:gd name="connsiteX25" fmla="*/ 4186080 w 4186080"/>
              <a:gd name="connsiteY25" fmla="*/ 1321296 h 4671148"/>
              <a:gd name="connsiteX26" fmla="*/ 4182916 w 4186080"/>
              <a:gd name="connsiteY26" fmla="*/ 1326113 h 4671148"/>
              <a:gd name="connsiteX27" fmla="*/ 4186080 w 4186080"/>
              <a:gd name="connsiteY27" fmla="*/ 1321296 h 4671148"/>
              <a:gd name="connsiteX28" fmla="*/ 3361 w 4186080"/>
              <a:gd name="connsiteY28" fmla="*/ 1268344 h 4671148"/>
              <a:gd name="connsiteX29" fmla="*/ 0 w 4186080"/>
              <a:gd name="connsiteY29" fmla="*/ 1268359 h 4671148"/>
              <a:gd name="connsiteX30" fmla="*/ 3361 w 4186080"/>
              <a:gd name="connsiteY30" fmla="*/ 1268344 h 4671148"/>
              <a:gd name="connsiteX31" fmla="*/ 2079224 w 4186080"/>
              <a:gd name="connsiteY31" fmla="*/ 0 h 4671148"/>
              <a:gd name="connsiteX32" fmla="*/ 4132907 w 4186080"/>
              <a:gd name="connsiteY32" fmla="*/ 1222301 h 4671148"/>
              <a:gd name="connsiteX33" fmla="*/ 4182916 w 4186080"/>
              <a:gd name="connsiteY33" fmla="*/ 1326113 h 4671148"/>
              <a:gd name="connsiteX34" fmla="*/ 3947908 w 4186080"/>
              <a:gd name="connsiteY34" fmla="*/ 1683835 h 4671148"/>
              <a:gd name="connsiteX35" fmla="*/ 3522874 w 4186080"/>
              <a:gd name="connsiteY35" fmla="*/ 1668782 h 4671148"/>
              <a:gd name="connsiteX36" fmla="*/ 3478645 w 4186080"/>
              <a:gd name="connsiteY36" fmla="*/ 1576967 h 4671148"/>
              <a:gd name="connsiteX37" fmla="*/ 2079224 w 4186080"/>
              <a:gd name="connsiteY37" fmla="*/ 744067 h 4671148"/>
              <a:gd name="connsiteX38" fmla="*/ 679804 w 4186080"/>
              <a:gd name="connsiteY38" fmla="*/ 1576967 h 4671148"/>
              <a:gd name="connsiteX39" fmla="*/ 655403 w 4186080"/>
              <a:gd name="connsiteY39" fmla="*/ 1627620 h 4671148"/>
              <a:gd name="connsiteX40" fmla="*/ 433771 w 4186080"/>
              <a:gd name="connsiteY40" fmla="*/ 1266408 h 4671148"/>
              <a:gd name="connsiteX41" fmla="*/ 3361 w 4186080"/>
              <a:gd name="connsiteY41" fmla="*/ 1268344 h 4671148"/>
              <a:gd name="connsiteX42" fmla="*/ 25541 w 4186080"/>
              <a:gd name="connsiteY42" fmla="*/ 1222301 h 4671148"/>
              <a:gd name="connsiteX43" fmla="*/ 2079224 w 4186080"/>
              <a:gd name="connsiteY43"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55940 w 4186080"/>
              <a:gd name="connsiteY16" fmla="*/ 4669972 h 4671148"/>
              <a:gd name="connsiteX17" fmla="*/ 2079224 w 4186080"/>
              <a:gd name="connsiteY17" fmla="*/ 4671148 h 4671148"/>
              <a:gd name="connsiteX18" fmla="*/ 2055940 w 4186080"/>
              <a:gd name="connsiteY18" fmla="*/ 4669972 h 4671148"/>
              <a:gd name="connsiteX19" fmla="*/ 1840425 w 4186080"/>
              <a:gd name="connsiteY19" fmla="*/ 4659090 h 4671148"/>
              <a:gd name="connsiteX20" fmla="*/ 1916502 w 4186080"/>
              <a:gd name="connsiteY20" fmla="*/ 3918864 h 4671148"/>
              <a:gd name="connsiteX21" fmla="*/ 1920826 w 4186080"/>
              <a:gd name="connsiteY21" fmla="*/ 3919083 h 4671148"/>
              <a:gd name="connsiteX22" fmla="*/ 1918531 w 4186080"/>
              <a:gd name="connsiteY22" fmla="*/ 4663034 h 4671148"/>
              <a:gd name="connsiteX23" fmla="*/ 1840425 w 4186080"/>
              <a:gd name="connsiteY23" fmla="*/ 4659090 h 4671148"/>
              <a:gd name="connsiteX24" fmla="*/ 4186080 w 4186080"/>
              <a:gd name="connsiteY24" fmla="*/ 1321296 h 4671148"/>
              <a:gd name="connsiteX25" fmla="*/ 4182916 w 4186080"/>
              <a:gd name="connsiteY25" fmla="*/ 1326113 h 4671148"/>
              <a:gd name="connsiteX26" fmla="*/ 4186080 w 4186080"/>
              <a:gd name="connsiteY26" fmla="*/ 1321296 h 4671148"/>
              <a:gd name="connsiteX27" fmla="*/ 3361 w 4186080"/>
              <a:gd name="connsiteY27" fmla="*/ 1268344 h 4671148"/>
              <a:gd name="connsiteX28" fmla="*/ 0 w 4186080"/>
              <a:gd name="connsiteY28" fmla="*/ 1268359 h 4671148"/>
              <a:gd name="connsiteX29" fmla="*/ 3361 w 4186080"/>
              <a:gd name="connsiteY29" fmla="*/ 1268344 h 4671148"/>
              <a:gd name="connsiteX30" fmla="*/ 2079224 w 4186080"/>
              <a:gd name="connsiteY30" fmla="*/ 0 h 4671148"/>
              <a:gd name="connsiteX31" fmla="*/ 4132907 w 4186080"/>
              <a:gd name="connsiteY31" fmla="*/ 1222301 h 4671148"/>
              <a:gd name="connsiteX32" fmla="*/ 4182916 w 4186080"/>
              <a:gd name="connsiteY32" fmla="*/ 1326113 h 4671148"/>
              <a:gd name="connsiteX33" fmla="*/ 3947908 w 4186080"/>
              <a:gd name="connsiteY33" fmla="*/ 1683835 h 4671148"/>
              <a:gd name="connsiteX34" fmla="*/ 3522874 w 4186080"/>
              <a:gd name="connsiteY34" fmla="*/ 1668782 h 4671148"/>
              <a:gd name="connsiteX35" fmla="*/ 3478645 w 4186080"/>
              <a:gd name="connsiteY35" fmla="*/ 1576967 h 4671148"/>
              <a:gd name="connsiteX36" fmla="*/ 2079224 w 4186080"/>
              <a:gd name="connsiteY36" fmla="*/ 744067 h 4671148"/>
              <a:gd name="connsiteX37" fmla="*/ 679804 w 4186080"/>
              <a:gd name="connsiteY37" fmla="*/ 1576967 h 4671148"/>
              <a:gd name="connsiteX38" fmla="*/ 655403 w 4186080"/>
              <a:gd name="connsiteY38" fmla="*/ 1627620 h 4671148"/>
              <a:gd name="connsiteX39" fmla="*/ 433771 w 4186080"/>
              <a:gd name="connsiteY39" fmla="*/ 1266408 h 4671148"/>
              <a:gd name="connsiteX40" fmla="*/ 3361 w 4186080"/>
              <a:gd name="connsiteY40" fmla="*/ 1268344 h 4671148"/>
              <a:gd name="connsiteX41" fmla="*/ 25541 w 4186080"/>
              <a:gd name="connsiteY41" fmla="*/ 1222301 h 4671148"/>
              <a:gd name="connsiteX42" fmla="*/ 2079224 w 4186080"/>
              <a:gd name="connsiteY42"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2050643 w 4186080"/>
              <a:gd name="connsiteY7" fmla="*/ 3925638 h 4671148"/>
              <a:gd name="connsiteX8" fmla="*/ 1920826 w 4186080"/>
              <a:gd name="connsiteY8" fmla="*/ 3919083 h 4671148"/>
              <a:gd name="connsiteX9" fmla="*/ 1923096 w 4186080"/>
              <a:gd name="connsiteY9" fmla="*/ 3915048 h 4671148"/>
              <a:gd name="connsiteX10" fmla="*/ 3514404 w 4186080"/>
              <a:gd name="connsiteY10" fmla="*/ 1668482 h 4671148"/>
              <a:gd name="connsiteX11" fmla="*/ 3522874 w 4186080"/>
              <a:gd name="connsiteY11" fmla="*/ 1668782 h 4671148"/>
              <a:gd name="connsiteX12" fmla="*/ 3514404 w 4186080"/>
              <a:gd name="connsiteY12" fmla="*/ 1668482 h 4671148"/>
              <a:gd name="connsiteX13" fmla="*/ 655403 w 4186080"/>
              <a:gd name="connsiteY13" fmla="*/ 1627620 h 4671148"/>
              <a:gd name="connsiteX14" fmla="*/ 660628 w 4186080"/>
              <a:gd name="connsiteY14" fmla="*/ 1636134 h 4671148"/>
              <a:gd name="connsiteX15" fmla="*/ 655403 w 4186080"/>
              <a:gd name="connsiteY15" fmla="*/ 1627620 h 4671148"/>
              <a:gd name="connsiteX16" fmla="*/ 2055940 w 4186080"/>
              <a:gd name="connsiteY16" fmla="*/ 4669972 h 4671148"/>
              <a:gd name="connsiteX17" fmla="*/ 2079224 w 4186080"/>
              <a:gd name="connsiteY17" fmla="*/ 4671148 h 4671148"/>
              <a:gd name="connsiteX18" fmla="*/ 2055940 w 4186080"/>
              <a:gd name="connsiteY18" fmla="*/ 4669972 h 4671148"/>
              <a:gd name="connsiteX19" fmla="*/ 1840425 w 4186080"/>
              <a:gd name="connsiteY19" fmla="*/ 4659090 h 4671148"/>
              <a:gd name="connsiteX20" fmla="*/ 1916502 w 4186080"/>
              <a:gd name="connsiteY20" fmla="*/ 3918864 h 4671148"/>
              <a:gd name="connsiteX21" fmla="*/ 1918531 w 4186080"/>
              <a:gd name="connsiteY21" fmla="*/ 4663034 h 4671148"/>
              <a:gd name="connsiteX22" fmla="*/ 1840425 w 4186080"/>
              <a:gd name="connsiteY22" fmla="*/ 4659090 h 4671148"/>
              <a:gd name="connsiteX23" fmla="*/ 4186080 w 4186080"/>
              <a:gd name="connsiteY23" fmla="*/ 1321296 h 4671148"/>
              <a:gd name="connsiteX24" fmla="*/ 4182916 w 4186080"/>
              <a:gd name="connsiteY24" fmla="*/ 1326113 h 4671148"/>
              <a:gd name="connsiteX25" fmla="*/ 4186080 w 4186080"/>
              <a:gd name="connsiteY25" fmla="*/ 1321296 h 4671148"/>
              <a:gd name="connsiteX26" fmla="*/ 3361 w 4186080"/>
              <a:gd name="connsiteY26" fmla="*/ 1268344 h 4671148"/>
              <a:gd name="connsiteX27" fmla="*/ 0 w 4186080"/>
              <a:gd name="connsiteY27" fmla="*/ 1268359 h 4671148"/>
              <a:gd name="connsiteX28" fmla="*/ 3361 w 4186080"/>
              <a:gd name="connsiteY28" fmla="*/ 1268344 h 4671148"/>
              <a:gd name="connsiteX29" fmla="*/ 2079224 w 4186080"/>
              <a:gd name="connsiteY29" fmla="*/ 0 h 4671148"/>
              <a:gd name="connsiteX30" fmla="*/ 4132907 w 4186080"/>
              <a:gd name="connsiteY30" fmla="*/ 1222301 h 4671148"/>
              <a:gd name="connsiteX31" fmla="*/ 4182916 w 4186080"/>
              <a:gd name="connsiteY31" fmla="*/ 1326113 h 4671148"/>
              <a:gd name="connsiteX32" fmla="*/ 3947908 w 4186080"/>
              <a:gd name="connsiteY32" fmla="*/ 1683835 h 4671148"/>
              <a:gd name="connsiteX33" fmla="*/ 3522874 w 4186080"/>
              <a:gd name="connsiteY33" fmla="*/ 1668782 h 4671148"/>
              <a:gd name="connsiteX34" fmla="*/ 3478645 w 4186080"/>
              <a:gd name="connsiteY34" fmla="*/ 1576967 h 4671148"/>
              <a:gd name="connsiteX35" fmla="*/ 2079224 w 4186080"/>
              <a:gd name="connsiteY35" fmla="*/ 744067 h 4671148"/>
              <a:gd name="connsiteX36" fmla="*/ 679804 w 4186080"/>
              <a:gd name="connsiteY36" fmla="*/ 1576967 h 4671148"/>
              <a:gd name="connsiteX37" fmla="*/ 655403 w 4186080"/>
              <a:gd name="connsiteY37" fmla="*/ 1627620 h 4671148"/>
              <a:gd name="connsiteX38" fmla="*/ 433771 w 4186080"/>
              <a:gd name="connsiteY38" fmla="*/ 1266408 h 4671148"/>
              <a:gd name="connsiteX39" fmla="*/ 3361 w 4186080"/>
              <a:gd name="connsiteY39" fmla="*/ 1268344 h 4671148"/>
              <a:gd name="connsiteX40" fmla="*/ 25541 w 4186080"/>
              <a:gd name="connsiteY40" fmla="*/ 1222301 h 4671148"/>
              <a:gd name="connsiteX41" fmla="*/ 2079224 w 4186080"/>
              <a:gd name="connsiteY41"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2056601 w 4186080"/>
              <a:gd name="connsiteY6" fmla="*/ 3915048 h 4671148"/>
              <a:gd name="connsiteX7" fmla="*/ 1920826 w 4186080"/>
              <a:gd name="connsiteY7" fmla="*/ 3919083 h 4671148"/>
              <a:gd name="connsiteX8" fmla="*/ 1923096 w 4186080"/>
              <a:gd name="connsiteY8" fmla="*/ 3915048 h 4671148"/>
              <a:gd name="connsiteX9" fmla="*/ 3514404 w 4186080"/>
              <a:gd name="connsiteY9" fmla="*/ 1668482 h 4671148"/>
              <a:gd name="connsiteX10" fmla="*/ 3522874 w 4186080"/>
              <a:gd name="connsiteY10" fmla="*/ 1668782 h 4671148"/>
              <a:gd name="connsiteX11" fmla="*/ 3514404 w 4186080"/>
              <a:gd name="connsiteY11" fmla="*/ 1668482 h 4671148"/>
              <a:gd name="connsiteX12" fmla="*/ 655403 w 4186080"/>
              <a:gd name="connsiteY12" fmla="*/ 1627620 h 4671148"/>
              <a:gd name="connsiteX13" fmla="*/ 660628 w 4186080"/>
              <a:gd name="connsiteY13" fmla="*/ 1636134 h 4671148"/>
              <a:gd name="connsiteX14" fmla="*/ 655403 w 4186080"/>
              <a:gd name="connsiteY14" fmla="*/ 1627620 h 4671148"/>
              <a:gd name="connsiteX15" fmla="*/ 2055940 w 4186080"/>
              <a:gd name="connsiteY15" fmla="*/ 4669972 h 4671148"/>
              <a:gd name="connsiteX16" fmla="*/ 2079224 w 4186080"/>
              <a:gd name="connsiteY16" fmla="*/ 4671148 h 4671148"/>
              <a:gd name="connsiteX17" fmla="*/ 2055940 w 4186080"/>
              <a:gd name="connsiteY17" fmla="*/ 4669972 h 4671148"/>
              <a:gd name="connsiteX18" fmla="*/ 1840425 w 4186080"/>
              <a:gd name="connsiteY18" fmla="*/ 4659090 h 4671148"/>
              <a:gd name="connsiteX19" fmla="*/ 1916502 w 4186080"/>
              <a:gd name="connsiteY19" fmla="*/ 3918864 h 4671148"/>
              <a:gd name="connsiteX20" fmla="*/ 1918531 w 4186080"/>
              <a:gd name="connsiteY20" fmla="*/ 4663034 h 4671148"/>
              <a:gd name="connsiteX21" fmla="*/ 1840425 w 4186080"/>
              <a:gd name="connsiteY21" fmla="*/ 4659090 h 4671148"/>
              <a:gd name="connsiteX22" fmla="*/ 4186080 w 4186080"/>
              <a:gd name="connsiteY22" fmla="*/ 1321296 h 4671148"/>
              <a:gd name="connsiteX23" fmla="*/ 4182916 w 4186080"/>
              <a:gd name="connsiteY23" fmla="*/ 1326113 h 4671148"/>
              <a:gd name="connsiteX24" fmla="*/ 4186080 w 4186080"/>
              <a:gd name="connsiteY24" fmla="*/ 1321296 h 4671148"/>
              <a:gd name="connsiteX25" fmla="*/ 3361 w 4186080"/>
              <a:gd name="connsiteY25" fmla="*/ 1268344 h 4671148"/>
              <a:gd name="connsiteX26" fmla="*/ 0 w 4186080"/>
              <a:gd name="connsiteY26" fmla="*/ 1268359 h 4671148"/>
              <a:gd name="connsiteX27" fmla="*/ 3361 w 4186080"/>
              <a:gd name="connsiteY27" fmla="*/ 1268344 h 4671148"/>
              <a:gd name="connsiteX28" fmla="*/ 2079224 w 4186080"/>
              <a:gd name="connsiteY28" fmla="*/ 0 h 4671148"/>
              <a:gd name="connsiteX29" fmla="*/ 4132907 w 4186080"/>
              <a:gd name="connsiteY29" fmla="*/ 1222301 h 4671148"/>
              <a:gd name="connsiteX30" fmla="*/ 4182916 w 4186080"/>
              <a:gd name="connsiteY30" fmla="*/ 1326113 h 4671148"/>
              <a:gd name="connsiteX31" fmla="*/ 3947908 w 4186080"/>
              <a:gd name="connsiteY31" fmla="*/ 1683835 h 4671148"/>
              <a:gd name="connsiteX32" fmla="*/ 3522874 w 4186080"/>
              <a:gd name="connsiteY32" fmla="*/ 1668782 h 4671148"/>
              <a:gd name="connsiteX33" fmla="*/ 3478645 w 4186080"/>
              <a:gd name="connsiteY33" fmla="*/ 1576967 h 4671148"/>
              <a:gd name="connsiteX34" fmla="*/ 2079224 w 4186080"/>
              <a:gd name="connsiteY34" fmla="*/ 744067 h 4671148"/>
              <a:gd name="connsiteX35" fmla="*/ 679804 w 4186080"/>
              <a:gd name="connsiteY35" fmla="*/ 1576967 h 4671148"/>
              <a:gd name="connsiteX36" fmla="*/ 655403 w 4186080"/>
              <a:gd name="connsiteY36" fmla="*/ 1627620 h 4671148"/>
              <a:gd name="connsiteX37" fmla="*/ 433771 w 4186080"/>
              <a:gd name="connsiteY37" fmla="*/ 1266408 h 4671148"/>
              <a:gd name="connsiteX38" fmla="*/ 3361 w 4186080"/>
              <a:gd name="connsiteY38" fmla="*/ 1268344 h 4671148"/>
              <a:gd name="connsiteX39" fmla="*/ 25541 w 4186080"/>
              <a:gd name="connsiteY39" fmla="*/ 1222301 h 4671148"/>
              <a:gd name="connsiteX40" fmla="*/ 2079224 w 4186080"/>
              <a:gd name="connsiteY40"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1920826 w 4186080"/>
              <a:gd name="connsiteY6" fmla="*/ 3919083 h 4671148"/>
              <a:gd name="connsiteX7" fmla="*/ 1923096 w 4186080"/>
              <a:gd name="connsiteY7" fmla="*/ 3915048 h 4671148"/>
              <a:gd name="connsiteX8" fmla="*/ 3514404 w 4186080"/>
              <a:gd name="connsiteY8" fmla="*/ 1668482 h 4671148"/>
              <a:gd name="connsiteX9" fmla="*/ 3522874 w 4186080"/>
              <a:gd name="connsiteY9" fmla="*/ 1668782 h 4671148"/>
              <a:gd name="connsiteX10" fmla="*/ 3514404 w 4186080"/>
              <a:gd name="connsiteY10" fmla="*/ 1668482 h 4671148"/>
              <a:gd name="connsiteX11" fmla="*/ 655403 w 4186080"/>
              <a:gd name="connsiteY11" fmla="*/ 1627620 h 4671148"/>
              <a:gd name="connsiteX12" fmla="*/ 660628 w 4186080"/>
              <a:gd name="connsiteY12" fmla="*/ 1636134 h 4671148"/>
              <a:gd name="connsiteX13" fmla="*/ 655403 w 4186080"/>
              <a:gd name="connsiteY13" fmla="*/ 1627620 h 4671148"/>
              <a:gd name="connsiteX14" fmla="*/ 2055940 w 4186080"/>
              <a:gd name="connsiteY14" fmla="*/ 4669972 h 4671148"/>
              <a:gd name="connsiteX15" fmla="*/ 2079224 w 4186080"/>
              <a:gd name="connsiteY15" fmla="*/ 4671148 h 4671148"/>
              <a:gd name="connsiteX16" fmla="*/ 2055940 w 4186080"/>
              <a:gd name="connsiteY16" fmla="*/ 4669972 h 4671148"/>
              <a:gd name="connsiteX17" fmla="*/ 1840425 w 4186080"/>
              <a:gd name="connsiteY17" fmla="*/ 4659090 h 4671148"/>
              <a:gd name="connsiteX18" fmla="*/ 1916502 w 4186080"/>
              <a:gd name="connsiteY18" fmla="*/ 3918864 h 4671148"/>
              <a:gd name="connsiteX19" fmla="*/ 1918531 w 4186080"/>
              <a:gd name="connsiteY19" fmla="*/ 4663034 h 4671148"/>
              <a:gd name="connsiteX20" fmla="*/ 1840425 w 4186080"/>
              <a:gd name="connsiteY20" fmla="*/ 4659090 h 4671148"/>
              <a:gd name="connsiteX21" fmla="*/ 4186080 w 4186080"/>
              <a:gd name="connsiteY21" fmla="*/ 1321296 h 4671148"/>
              <a:gd name="connsiteX22" fmla="*/ 4182916 w 4186080"/>
              <a:gd name="connsiteY22" fmla="*/ 1326113 h 4671148"/>
              <a:gd name="connsiteX23" fmla="*/ 4186080 w 4186080"/>
              <a:gd name="connsiteY23" fmla="*/ 1321296 h 4671148"/>
              <a:gd name="connsiteX24" fmla="*/ 3361 w 4186080"/>
              <a:gd name="connsiteY24" fmla="*/ 1268344 h 4671148"/>
              <a:gd name="connsiteX25" fmla="*/ 0 w 4186080"/>
              <a:gd name="connsiteY25" fmla="*/ 1268359 h 4671148"/>
              <a:gd name="connsiteX26" fmla="*/ 3361 w 4186080"/>
              <a:gd name="connsiteY26" fmla="*/ 1268344 h 4671148"/>
              <a:gd name="connsiteX27" fmla="*/ 2079224 w 4186080"/>
              <a:gd name="connsiteY27" fmla="*/ 0 h 4671148"/>
              <a:gd name="connsiteX28" fmla="*/ 4132907 w 4186080"/>
              <a:gd name="connsiteY28" fmla="*/ 1222301 h 4671148"/>
              <a:gd name="connsiteX29" fmla="*/ 4182916 w 4186080"/>
              <a:gd name="connsiteY29" fmla="*/ 1326113 h 4671148"/>
              <a:gd name="connsiteX30" fmla="*/ 3947908 w 4186080"/>
              <a:gd name="connsiteY30" fmla="*/ 1683835 h 4671148"/>
              <a:gd name="connsiteX31" fmla="*/ 3522874 w 4186080"/>
              <a:gd name="connsiteY31" fmla="*/ 1668782 h 4671148"/>
              <a:gd name="connsiteX32" fmla="*/ 3478645 w 4186080"/>
              <a:gd name="connsiteY32" fmla="*/ 1576967 h 4671148"/>
              <a:gd name="connsiteX33" fmla="*/ 2079224 w 4186080"/>
              <a:gd name="connsiteY33" fmla="*/ 744067 h 4671148"/>
              <a:gd name="connsiteX34" fmla="*/ 679804 w 4186080"/>
              <a:gd name="connsiteY34" fmla="*/ 1576967 h 4671148"/>
              <a:gd name="connsiteX35" fmla="*/ 655403 w 4186080"/>
              <a:gd name="connsiteY35" fmla="*/ 1627620 h 4671148"/>
              <a:gd name="connsiteX36" fmla="*/ 433771 w 4186080"/>
              <a:gd name="connsiteY36" fmla="*/ 1266408 h 4671148"/>
              <a:gd name="connsiteX37" fmla="*/ 3361 w 4186080"/>
              <a:gd name="connsiteY37" fmla="*/ 1268344 h 4671148"/>
              <a:gd name="connsiteX38" fmla="*/ 25541 w 4186080"/>
              <a:gd name="connsiteY38" fmla="*/ 1222301 h 4671148"/>
              <a:gd name="connsiteX39" fmla="*/ 2079224 w 4186080"/>
              <a:gd name="connsiteY39"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1920826 w 4186080"/>
              <a:gd name="connsiteY6" fmla="*/ 3919083 h 4671148"/>
              <a:gd name="connsiteX7" fmla="*/ 1923096 w 4186080"/>
              <a:gd name="connsiteY7" fmla="*/ 3915048 h 4671148"/>
              <a:gd name="connsiteX8" fmla="*/ 3514404 w 4186080"/>
              <a:gd name="connsiteY8" fmla="*/ 1668482 h 4671148"/>
              <a:gd name="connsiteX9" fmla="*/ 3522874 w 4186080"/>
              <a:gd name="connsiteY9" fmla="*/ 1668782 h 4671148"/>
              <a:gd name="connsiteX10" fmla="*/ 3514404 w 4186080"/>
              <a:gd name="connsiteY10" fmla="*/ 1668482 h 4671148"/>
              <a:gd name="connsiteX11" fmla="*/ 655403 w 4186080"/>
              <a:gd name="connsiteY11" fmla="*/ 1627620 h 4671148"/>
              <a:gd name="connsiteX12" fmla="*/ 660628 w 4186080"/>
              <a:gd name="connsiteY12" fmla="*/ 1636134 h 4671148"/>
              <a:gd name="connsiteX13" fmla="*/ 655403 w 4186080"/>
              <a:gd name="connsiteY13" fmla="*/ 1627620 h 4671148"/>
              <a:gd name="connsiteX14" fmla="*/ 2055940 w 4186080"/>
              <a:gd name="connsiteY14" fmla="*/ 4669972 h 4671148"/>
              <a:gd name="connsiteX15" fmla="*/ 2079224 w 4186080"/>
              <a:gd name="connsiteY15" fmla="*/ 4671148 h 4671148"/>
              <a:gd name="connsiteX16" fmla="*/ 2055940 w 4186080"/>
              <a:gd name="connsiteY16" fmla="*/ 4669972 h 4671148"/>
              <a:gd name="connsiteX17" fmla="*/ 1840425 w 4186080"/>
              <a:gd name="connsiteY17" fmla="*/ 4659090 h 4671148"/>
              <a:gd name="connsiteX18" fmla="*/ 1918531 w 4186080"/>
              <a:gd name="connsiteY18" fmla="*/ 4663034 h 4671148"/>
              <a:gd name="connsiteX19" fmla="*/ 1840425 w 4186080"/>
              <a:gd name="connsiteY19" fmla="*/ 4659090 h 4671148"/>
              <a:gd name="connsiteX20" fmla="*/ 4186080 w 4186080"/>
              <a:gd name="connsiteY20" fmla="*/ 1321296 h 4671148"/>
              <a:gd name="connsiteX21" fmla="*/ 4182916 w 4186080"/>
              <a:gd name="connsiteY21" fmla="*/ 1326113 h 4671148"/>
              <a:gd name="connsiteX22" fmla="*/ 4186080 w 4186080"/>
              <a:gd name="connsiteY22" fmla="*/ 1321296 h 4671148"/>
              <a:gd name="connsiteX23" fmla="*/ 3361 w 4186080"/>
              <a:gd name="connsiteY23" fmla="*/ 1268344 h 4671148"/>
              <a:gd name="connsiteX24" fmla="*/ 0 w 4186080"/>
              <a:gd name="connsiteY24" fmla="*/ 1268359 h 4671148"/>
              <a:gd name="connsiteX25" fmla="*/ 3361 w 4186080"/>
              <a:gd name="connsiteY25" fmla="*/ 1268344 h 4671148"/>
              <a:gd name="connsiteX26" fmla="*/ 2079224 w 4186080"/>
              <a:gd name="connsiteY26" fmla="*/ 0 h 4671148"/>
              <a:gd name="connsiteX27" fmla="*/ 4132907 w 4186080"/>
              <a:gd name="connsiteY27" fmla="*/ 1222301 h 4671148"/>
              <a:gd name="connsiteX28" fmla="*/ 4182916 w 4186080"/>
              <a:gd name="connsiteY28" fmla="*/ 1326113 h 4671148"/>
              <a:gd name="connsiteX29" fmla="*/ 3947908 w 4186080"/>
              <a:gd name="connsiteY29" fmla="*/ 1683835 h 4671148"/>
              <a:gd name="connsiteX30" fmla="*/ 3522874 w 4186080"/>
              <a:gd name="connsiteY30" fmla="*/ 1668782 h 4671148"/>
              <a:gd name="connsiteX31" fmla="*/ 3478645 w 4186080"/>
              <a:gd name="connsiteY31" fmla="*/ 1576967 h 4671148"/>
              <a:gd name="connsiteX32" fmla="*/ 2079224 w 4186080"/>
              <a:gd name="connsiteY32" fmla="*/ 744067 h 4671148"/>
              <a:gd name="connsiteX33" fmla="*/ 679804 w 4186080"/>
              <a:gd name="connsiteY33" fmla="*/ 1576967 h 4671148"/>
              <a:gd name="connsiteX34" fmla="*/ 655403 w 4186080"/>
              <a:gd name="connsiteY34" fmla="*/ 1627620 h 4671148"/>
              <a:gd name="connsiteX35" fmla="*/ 433771 w 4186080"/>
              <a:gd name="connsiteY35" fmla="*/ 1266408 h 4671148"/>
              <a:gd name="connsiteX36" fmla="*/ 3361 w 4186080"/>
              <a:gd name="connsiteY36" fmla="*/ 1268344 h 4671148"/>
              <a:gd name="connsiteX37" fmla="*/ 25541 w 4186080"/>
              <a:gd name="connsiteY37" fmla="*/ 1222301 h 4671148"/>
              <a:gd name="connsiteX38" fmla="*/ 2079224 w 4186080"/>
              <a:gd name="connsiteY38"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1920826 w 4186080"/>
              <a:gd name="connsiteY6" fmla="*/ 3919083 h 4671148"/>
              <a:gd name="connsiteX7" fmla="*/ 1923096 w 4186080"/>
              <a:gd name="connsiteY7" fmla="*/ 3915048 h 4671148"/>
              <a:gd name="connsiteX8" fmla="*/ 3514404 w 4186080"/>
              <a:gd name="connsiteY8" fmla="*/ 1668482 h 4671148"/>
              <a:gd name="connsiteX9" fmla="*/ 3522874 w 4186080"/>
              <a:gd name="connsiteY9" fmla="*/ 1668782 h 4671148"/>
              <a:gd name="connsiteX10" fmla="*/ 3514404 w 4186080"/>
              <a:gd name="connsiteY10" fmla="*/ 1668482 h 4671148"/>
              <a:gd name="connsiteX11" fmla="*/ 655403 w 4186080"/>
              <a:gd name="connsiteY11" fmla="*/ 1627620 h 4671148"/>
              <a:gd name="connsiteX12" fmla="*/ 660628 w 4186080"/>
              <a:gd name="connsiteY12" fmla="*/ 1636134 h 4671148"/>
              <a:gd name="connsiteX13" fmla="*/ 655403 w 4186080"/>
              <a:gd name="connsiteY13" fmla="*/ 1627620 h 4671148"/>
              <a:gd name="connsiteX14" fmla="*/ 1840425 w 4186080"/>
              <a:gd name="connsiteY14" fmla="*/ 4659090 h 4671148"/>
              <a:gd name="connsiteX15" fmla="*/ 1918531 w 4186080"/>
              <a:gd name="connsiteY15" fmla="*/ 4663034 h 4671148"/>
              <a:gd name="connsiteX16" fmla="*/ 1840425 w 4186080"/>
              <a:gd name="connsiteY16" fmla="*/ 4659090 h 4671148"/>
              <a:gd name="connsiteX17" fmla="*/ 4186080 w 4186080"/>
              <a:gd name="connsiteY17" fmla="*/ 1321296 h 4671148"/>
              <a:gd name="connsiteX18" fmla="*/ 4182916 w 4186080"/>
              <a:gd name="connsiteY18" fmla="*/ 1326113 h 4671148"/>
              <a:gd name="connsiteX19" fmla="*/ 4186080 w 4186080"/>
              <a:gd name="connsiteY19" fmla="*/ 1321296 h 4671148"/>
              <a:gd name="connsiteX20" fmla="*/ 3361 w 4186080"/>
              <a:gd name="connsiteY20" fmla="*/ 1268344 h 4671148"/>
              <a:gd name="connsiteX21" fmla="*/ 0 w 4186080"/>
              <a:gd name="connsiteY21" fmla="*/ 1268359 h 4671148"/>
              <a:gd name="connsiteX22" fmla="*/ 3361 w 4186080"/>
              <a:gd name="connsiteY22" fmla="*/ 1268344 h 4671148"/>
              <a:gd name="connsiteX23" fmla="*/ 2079224 w 4186080"/>
              <a:gd name="connsiteY23" fmla="*/ 0 h 4671148"/>
              <a:gd name="connsiteX24" fmla="*/ 4132907 w 4186080"/>
              <a:gd name="connsiteY24" fmla="*/ 1222301 h 4671148"/>
              <a:gd name="connsiteX25" fmla="*/ 4182916 w 4186080"/>
              <a:gd name="connsiteY25" fmla="*/ 1326113 h 4671148"/>
              <a:gd name="connsiteX26" fmla="*/ 3947908 w 4186080"/>
              <a:gd name="connsiteY26" fmla="*/ 1683835 h 4671148"/>
              <a:gd name="connsiteX27" fmla="*/ 3522874 w 4186080"/>
              <a:gd name="connsiteY27" fmla="*/ 1668782 h 4671148"/>
              <a:gd name="connsiteX28" fmla="*/ 3478645 w 4186080"/>
              <a:gd name="connsiteY28" fmla="*/ 1576967 h 4671148"/>
              <a:gd name="connsiteX29" fmla="*/ 2079224 w 4186080"/>
              <a:gd name="connsiteY29" fmla="*/ 744067 h 4671148"/>
              <a:gd name="connsiteX30" fmla="*/ 679804 w 4186080"/>
              <a:gd name="connsiteY30" fmla="*/ 1576967 h 4671148"/>
              <a:gd name="connsiteX31" fmla="*/ 655403 w 4186080"/>
              <a:gd name="connsiteY31" fmla="*/ 1627620 h 4671148"/>
              <a:gd name="connsiteX32" fmla="*/ 433771 w 4186080"/>
              <a:gd name="connsiteY32" fmla="*/ 1266408 h 4671148"/>
              <a:gd name="connsiteX33" fmla="*/ 3361 w 4186080"/>
              <a:gd name="connsiteY33" fmla="*/ 1268344 h 4671148"/>
              <a:gd name="connsiteX34" fmla="*/ 25541 w 4186080"/>
              <a:gd name="connsiteY34" fmla="*/ 1222301 h 4671148"/>
              <a:gd name="connsiteX35" fmla="*/ 2079224 w 4186080"/>
              <a:gd name="connsiteY35"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1920826 w 4186080"/>
              <a:gd name="connsiteY6" fmla="*/ 3919083 h 4671148"/>
              <a:gd name="connsiteX7" fmla="*/ 1923096 w 4186080"/>
              <a:gd name="connsiteY7" fmla="*/ 3915048 h 4671148"/>
              <a:gd name="connsiteX8" fmla="*/ 3514404 w 4186080"/>
              <a:gd name="connsiteY8" fmla="*/ 1668482 h 4671148"/>
              <a:gd name="connsiteX9" fmla="*/ 3522874 w 4186080"/>
              <a:gd name="connsiteY9" fmla="*/ 1668782 h 4671148"/>
              <a:gd name="connsiteX10" fmla="*/ 3514404 w 4186080"/>
              <a:gd name="connsiteY10" fmla="*/ 1668482 h 4671148"/>
              <a:gd name="connsiteX11" fmla="*/ 655403 w 4186080"/>
              <a:gd name="connsiteY11" fmla="*/ 1627620 h 4671148"/>
              <a:gd name="connsiteX12" fmla="*/ 660628 w 4186080"/>
              <a:gd name="connsiteY12" fmla="*/ 1636134 h 4671148"/>
              <a:gd name="connsiteX13" fmla="*/ 655403 w 4186080"/>
              <a:gd name="connsiteY13" fmla="*/ 1627620 h 4671148"/>
              <a:gd name="connsiteX14" fmla="*/ 1840425 w 4186080"/>
              <a:gd name="connsiteY14" fmla="*/ 4659090 h 4671148"/>
              <a:gd name="connsiteX15" fmla="*/ 1918531 w 4186080"/>
              <a:gd name="connsiteY15" fmla="*/ 4653375 h 4671148"/>
              <a:gd name="connsiteX16" fmla="*/ 1840425 w 4186080"/>
              <a:gd name="connsiteY16" fmla="*/ 4659090 h 4671148"/>
              <a:gd name="connsiteX17" fmla="*/ 4186080 w 4186080"/>
              <a:gd name="connsiteY17" fmla="*/ 1321296 h 4671148"/>
              <a:gd name="connsiteX18" fmla="*/ 4182916 w 4186080"/>
              <a:gd name="connsiteY18" fmla="*/ 1326113 h 4671148"/>
              <a:gd name="connsiteX19" fmla="*/ 4186080 w 4186080"/>
              <a:gd name="connsiteY19" fmla="*/ 1321296 h 4671148"/>
              <a:gd name="connsiteX20" fmla="*/ 3361 w 4186080"/>
              <a:gd name="connsiteY20" fmla="*/ 1268344 h 4671148"/>
              <a:gd name="connsiteX21" fmla="*/ 0 w 4186080"/>
              <a:gd name="connsiteY21" fmla="*/ 1268359 h 4671148"/>
              <a:gd name="connsiteX22" fmla="*/ 3361 w 4186080"/>
              <a:gd name="connsiteY22" fmla="*/ 1268344 h 4671148"/>
              <a:gd name="connsiteX23" fmla="*/ 2079224 w 4186080"/>
              <a:gd name="connsiteY23" fmla="*/ 0 h 4671148"/>
              <a:gd name="connsiteX24" fmla="*/ 4132907 w 4186080"/>
              <a:gd name="connsiteY24" fmla="*/ 1222301 h 4671148"/>
              <a:gd name="connsiteX25" fmla="*/ 4182916 w 4186080"/>
              <a:gd name="connsiteY25" fmla="*/ 1326113 h 4671148"/>
              <a:gd name="connsiteX26" fmla="*/ 3947908 w 4186080"/>
              <a:gd name="connsiteY26" fmla="*/ 1683835 h 4671148"/>
              <a:gd name="connsiteX27" fmla="*/ 3522874 w 4186080"/>
              <a:gd name="connsiteY27" fmla="*/ 1668782 h 4671148"/>
              <a:gd name="connsiteX28" fmla="*/ 3478645 w 4186080"/>
              <a:gd name="connsiteY28" fmla="*/ 1576967 h 4671148"/>
              <a:gd name="connsiteX29" fmla="*/ 2079224 w 4186080"/>
              <a:gd name="connsiteY29" fmla="*/ 744067 h 4671148"/>
              <a:gd name="connsiteX30" fmla="*/ 679804 w 4186080"/>
              <a:gd name="connsiteY30" fmla="*/ 1576967 h 4671148"/>
              <a:gd name="connsiteX31" fmla="*/ 655403 w 4186080"/>
              <a:gd name="connsiteY31" fmla="*/ 1627620 h 4671148"/>
              <a:gd name="connsiteX32" fmla="*/ 433771 w 4186080"/>
              <a:gd name="connsiteY32" fmla="*/ 1266408 h 4671148"/>
              <a:gd name="connsiteX33" fmla="*/ 3361 w 4186080"/>
              <a:gd name="connsiteY33" fmla="*/ 1268344 h 4671148"/>
              <a:gd name="connsiteX34" fmla="*/ 25541 w 4186080"/>
              <a:gd name="connsiteY34" fmla="*/ 1222301 h 4671148"/>
              <a:gd name="connsiteX35" fmla="*/ 2079224 w 4186080"/>
              <a:gd name="connsiteY35" fmla="*/ 0 h 4671148"/>
              <a:gd name="connsiteX0" fmla="*/ 1918531 w 4186080"/>
              <a:gd name="connsiteY0" fmla="*/ 4663034 h 4671148"/>
              <a:gd name="connsiteX1" fmla="*/ 2055940 w 4186080"/>
              <a:gd name="connsiteY1" fmla="*/ 4669972 h 4671148"/>
              <a:gd name="connsiteX2" fmla="*/ 2056601 w 4186080"/>
              <a:gd name="connsiteY2" fmla="*/ 4671148 h 4671148"/>
              <a:gd name="connsiteX3" fmla="*/ 1923096 w 4186080"/>
              <a:gd name="connsiteY3" fmla="*/ 4671148 h 4671148"/>
              <a:gd name="connsiteX4" fmla="*/ 1918531 w 4186080"/>
              <a:gd name="connsiteY4" fmla="*/ 4663034 h 4671148"/>
              <a:gd name="connsiteX5" fmla="*/ 1923096 w 4186080"/>
              <a:gd name="connsiteY5" fmla="*/ 3915048 h 4671148"/>
              <a:gd name="connsiteX6" fmla="*/ 1920826 w 4186080"/>
              <a:gd name="connsiteY6" fmla="*/ 3919083 h 4671148"/>
              <a:gd name="connsiteX7" fmla="*/ 1923096 w 4186080"/>
              <a:gd name="connsiteY7" fmla="*/ 3915048 h 4671148"/>
              <a:gd name="connsiteX8" fmla="*/ 3514404 w 4186080"/>
              <a:gd name="connsiteY8" fmla="*/ 1668482 h 4671148"/>
              <a:gd name="connsiteX9" fmla="*/ 3522874 w 4186080"/>
              <a:gd name="connsiteY9" fmla="*/ 1668782 h 4671148"/>
              <a:gd name="connsiteX10" fmla="*/ 3514404 w 4186080"/>
              <a:gd name="connsiteY10" fmla="*/ 1668482 h 4671148"/>
              <a:gd name="connsiteX11" fmla="*/ 655403 w 4186080"/>
              <a:gd name="connsiteY11" fmla="*/ 1627620 h 4671148"/>
              <a:gd name="connsiteX12" fmla="*/ 660628 w 4186080"/>
              <a:gd name="connsiteY12" fmla="*/ 1636134 h 4671148"/>
              <a:gd name="connsiteX13" fmla="*/ 655403 w 4186080"/>
              <a:gd name="connsiteY13" fmla="*/ 1627620 h 4671148"/>
              <a:gd name="connsiteX14" fmla="*/ 4186080 w 4186080"/>
              <a:gd name="connsiteY14" fmla="*/ 1321296 h 4671148"/>
              <a:gd name="connsiteX15" fmla="*/ 4182916 w 4186080"/>
              <a:gd name="connsiteY15" fmla="*/ 1326113 h 4671148"/>
              <a:gd name="connsiteX16" fmla="*/ 4186080 w 4186080"/>
              <a:gd name="connsiteY16" fmla="*/ 1321296 h 4671148"/>
              <a:gd name="connsiteX17" fmla="*/ 3361 w 4186080"/>
              <a:gd name="connsiteY17" fmla="*/ 1268344 h 4671148"/>
              <a:gd name="connsiteX18" fmla="*/ 0 w 4186080"/>
              <a:gd name="connsiteY18" fmla="*/ 1268359 h 4671148"/>
              <a:gd name="connsiteX19" fmla="*/ 3361 w 4186080"/>
              <a:gd name="connsiteY19" fmla="*/ 1268344 h 4671148"/>
              <a:gd name="connsiteX20" fmla="*/ 2079224 w 4186080"/>
              <a:gd name="connsiteY20" fmla="*/ 0 h 4671148"/>
              <a:gd name="connsiteX21" fmla="*/ 4132907 w 4186080"/>
              <a:gd name="connsiteY21" fmla="*/ 1222301 h 4671148"/>
              <a:gd name="connsiteX22" fmla="*/ 4182916 w 4186080"/>
              <a:gd name="connsiteY22" fmla="*/ 1326113 h 4671148"/>
              <a:gd name="connsiteX23" fmla="*/ 3947908 w 4186080"/>
              <a:gd name="connsiteY23" fmla="*/ 1683835 h 4671148"/>
              <a:gd name="connsiteX24" fmla="*/ 3522874 w 4186080"/>
              <a:gd name="connsiteY24" fmla="*/ 1668782 h 4671148"/>
              <a:gd name="connsiteX25" fmla="*/ 3478645 w 4186080"/>
              <a:gd name="connsiteY25" fmla="*/ 1576967 h 4671148"/>
              <a:gd name="connsiteX26" fmla="*/ 2079224 w 4186080"/>
              <a:gd name="connsiteY26" fmla="*/ 744067 h 4671148"/>
              <a:gd name="connsiteX27" fmla="*/ 679804 w 4186080"/>
              <a:gd name="connsiteY27" fmla="*/ 1576967 h 4671148"/>
              <a:gd name="connsiteX28" fmla="*/ 655403 w 4186080"/>
              <a:gd name="connsiteY28" fmla="*/ 1627620 h 4671148"/>
              <a:gd name="connsiteX29" fmla="*/ 433771 w 4186080"/>
              <a:gd name="connsiteY29" fmla="*/ 1266408 h 4671148"/>
              <a:gd name="connsiteX30" fmla="*/ 3361 w 4186080"/>
              <a:gd name="connsiteY30" fmla="*/ 1268344 h 4671148"/>
              <a:gd name="connsiteX31" fmla="*/ 25541 w 4186080"/>
              <a:gd name="connsiteY31" fmla="*/ 1222301 h 4671148"/>
              <a:gd name="connsiteX32" fmla="*/ 2079224 w 4186080"/>
              <a:gd name="connsiteY32" fmla="*/ 0 h 4671148"/>
              <a:gd name="connsiteX0" fmla="*/ 1918531 w 4186080"/>
              <a:gd name="connsiteY0" fmla="*/ 4663034 h 4671148"/>
              <a:gd name="connsiteX1" fmla="*/ 2055940 w 4186080"/>
              <a:gd name="connsiteY1" fmla="*/ 4669972 h 4671148"/>
              <a:gd name="connsiteX2" fmla="*/ 1923096 w 4186080"/>
              <a:gd name="connsiteY2" fmla="*/ 4671148 h 4671148"/>
              <a:gd name="connsiteX3" fmla="*/ 1918531 w 4186080"/>
              <a:gd name="connsiteY3" fmla="*/ 4663034 h 4671148"/>
              <a:gd name="connsiteX4" fmla="*/ 1923096 w 4186080"/>
              <a:gd name="connsiteY4" fmla="*/ 3915048 h 4671148"/>
              <a:gd name="connsiteX5" fmla="*/ 1920826 w 4186080"/>
              <a:gd name="connsiteY5" fmla="*/ 3919083 h 4671148"/>
              <a:gd name="connsiteX6" fmla="*/ 1923096 w 4186080"/>
              <a:gd name="connsiteY6" fmla="*/ 3915048 h 4671148"/>
              <a:gd name="connsiteX7" fmla="*/ 3514404 w 4186080"/>
              <a:gd name="connsiteY7" fmla="*/ 1668482 h 4671148"/>
              <a:gd name="connsiteX8" fmla="*/ 3522874 w 4186080"/>
              <a:gd name="connsiteY8" fmla="*/ 1668782 h 4671148"/>
              <a:gd name="connsiteX9" fmla="*/ 3514404 w 4186080"/>
              <a:gd name="connsiteY9" fmla="*/ 1668482 h 4671148"/>
              <a:gd name="connsiteX10" fmla="*/ 655403 w 4186080"/>
              <a:gd name="connsiteY10" fmla="*/ 1627620 h 4671148"/>
              <a:gd name="connsiteX11" fmla="*/ 660628 w 4186080"/>
              <a:gd name="connsiteY11" fmla="*/ 1636134 h 4671148"/>
              <a:gd name="connsiteX12" fmla="*/ 655403 w 4186080"/>
              <a:gd name="connsiteY12" fmla="*/ 1627620 h 4671148"/>
              <a:gd name="connsiteX13" fmla="*/ 4186080 w 4186080"/>
              <a:gd name="connsiteY13" fmla="*/ 1321296 h 4671148"/>
              <a:gd name="connsiteX14" fmla="*/ 4182916 w 4186080"/>
              <a:gd name="connsiteY14" fmla="*/ 1326113 h 4671148"/>
              <a:gd name="connsiteX15" fmla="*/ 4186080 w 4186080"/>
              <a:gd name="connsiteY15" fmla="*/ 1321296 h 4671148"/>
              <a:gd name="connsiteX16" fmla="*/ 3361 w 4186080"/>
              <a:gd name="connsiteY16" fmla="*/ 1268344 h 4671148"/>
              <a:gd name="connsiteX17" fmla="*/ 0 w 4186080"/>
              <a:gd name="connsiteY17" fmla="*/ 1268359 h 4671148"/>
              <a:gd name="connsiteX18" fmla="*/ 3361 w 4186080"/>
              <a:gd name="connsiteY18" fmla="*/ 1268344 h 4671148"/>
              <a:gd name="connsiteX19" fmla="*/ 2079224 w 4186080"/>
              <a:gd name="connsiteY19" fmla="*/ 0 h 4671148"/>
              <a:gd name="connsiteX20" fmla="*/ 4132907 w 4186080"/>
              <a:gd name="connsiteY20" fmla="*/ 1222301 h 4671148"/>
              <a:gd name="connsiteX21" fmla="*/ 4182916 w 4186080"/>
              <a:gd name="connsiteY21" fmla="*/ 1326113 h 4671148"/>
              <a:gd name="connsiteX22" fmla="*/ 3947908 w 4186080"/>
              <a:gd name="connsiteY22" fmla="*/ 1683835 h 4671148"/>
              <a:gd name="connsiteX23" fmla="*/ 3522874 w 4186080"/>
              <a:gd name="connsiteY23" fmla="*/ 1668782 h 4671148"/>
              <a:gd name="connsiteX24" fmla="*/ 3478645 w 4186080"/>
              <a:gd name="connsiteY24" fmla="*/ 1576967 h 4671148"/>
              <a:gd name="connsiteX25" fmla="*/ 2079224 w 4186080"/>
              <a:gd name="connsiteY25" fmla="*/ 744067 h 4671148"/>
              <a:gd name="connsiteX26" fmla="*/ 679804 w 4186080"/>
              <a:gd name="connsiteY26" fmla="*/ 1576967 h 4671148"/>
              <a:gd name="connsiteX27" fmla="*/ 655403 w 4186080"/>
              <a:gd name="connsiteY27" fmla="*/ 1627620 h 4671148"/>
              <a:gd name="connsiteX28" fmla="*/ 433771 w 4186080"/>
              <a:gd name="connsiteY28" fmla="*/ 1266408 h 4671148"/>
              <a:gd name="connsiteX29" fmla="*/ 3361 w 4186080"/>
              <a:gd name="connsiteY29" fmla="*/ 1268344 h 4671148"/>
              <a:gd name="connsiteX30" fmla="*/ 25541 w 4186080"/>
              <a:gd name="connsiteY30" fmla="*/ 1222301 h 4671148"/>
              <a:gd name="connsiteX31" fmla="*/ 2079224 w 4186080"/>
              <a:gd name="connsiteY31" fmla="*/ 0 h 4671148"/>
              <a:gd name="connsiteX0" fmla="*/ 1918531 w 4186080"/>
              <a:gd name="connsiteY0" fmla="*/ 4663034 h 4671148"/>
              <a:gd name="connsiteX1" fmla="*/ 1923096 w 4186080"/>
              <a:gd name="connsiteY1" fmla="*/ 4671148 h 4671148"/>
              <a:gd name="connsiteX2" fmla="*/ 1918531 w 4186080"/>
              <a:gd name="connsiteY2" fmla="*/ 4663034 h 4671148"/>
              <a:gd name="connsiteX3" fmla="*/ 1923096 w 4186080"/>
              <a:gd name="connsiteY3" fmla="*/ 3915048 h 4671148"/>
              <a:gd name="connsiteX4" fmla="*/ 1920826 w 4186080"/>
              <a:gd name="connsiteY4" fmla="*/ 3919083 h 4671148"/>
              <a:gd name="connsiteX5" fmla="*/ 1923096 w 4186080"/>
              <a:gd name="connsiteY5" fmla="*/ 3915048 h 4671148"/>
              <a:gd name="connsiteX6" fmla="*/ 3514404 w 4186080"/>
              <a:gd name="connsiteY6" fmla="*/ 1668482 h 4671148"/>
              <a:gd name="connsiteX7" fmla="*/ 3522874 w 4186080"/>
              <a:gd name="connsiteY7" fmla="*/ 1668782 h 4671148"/>
              <a:gd name="connsiteX8" fmla="*/ 3514404 w 4186080"/>
              <a:gd name="connsiteY8" fmla="*/ 1668482 h 4671148"/>
              <a:gd name="connsiteX9" fmla="*/ 655403 w 4186080"/>
              <a:gd name="connsiteY9" fmla="*/ 1627620 h 4671148"/>
              <a:gd name="connsiteX10" fmla="*/ 660628 w 4186080"/>
              <a:gd name="connsiteY10" fmla="*/ 1636134 h 4671148"/>
              <a:gd name="connsiteX11" fmla="*/ 655403 w 4186080"/>
              <a:gd name="connsiteY11" fmla="*/ 1627620 h 4671148"/>
              <a:gd name="connsiteX12" fmla="*/ 4186080 w 4186080"/>
              <a:gd name="connsiteY12" fmla="*/ 1321296 h 4671148"/>
              <a:gd name="connsiteX13" fmla="*/ 4182916 w 4186080"/>
              <a:gd name="connsiteY13" fmla="*/ 1326113 h 4671148"/>
              <a:gd name="connsiteX14" fmla="*/ 4186080 w 4186080"/>
              <a:gd name="connsiteY14" fmla="*/ 1321296 h 4671148"/>
              <a:gd name="connsiteX15" fmla="*/ 3361 w 4186080"/>
              <a:gd name="connsiteY15" fmla="*/ 1268344 h 4671148"/>
              <a:gd name="connsiteX16" fmla="*/ 0 w 4186080"/>
              <a:gd name="connsiteY16" fmla="*/ 1268359 h 4671148"/>
              <a:gd name="connsiteX17" fmla="*/ 3361 w 4186080"/>
              <a:gd name="connsiteY17" fmla="*/ 1268344 h 4671148"/>
              <a:gd name="connsiteX18" fmla="*/ 2079224 w 4186080"/>
              <a:gd name="connsiteY18" fmla="*/ 0 h 4671148"/>
              <a:gd name="connsiteX19" fmla="*/ 4132907 w 4186080"/>
              <a:gd name="connsiteY19" fmla="*/ 1222301 h 4671148"/>
              <a:gd name="connsiteX20" fmla="*/ 4182916 w 4186080"/>
              <a:gd name="connsiteY20" fmla="*/ 1326113 h 4671148"/>
              <a:gd name="connsiteX21" fmla="*/ 3947908 w 4186080"/>
              <a:gd name="connsiteY21" fmla="*/ 1683835 h 4671148"/>
              <a:gd name="connsiteX22" fmla="*/ 3522874 w 4186080"/>
              <a:gd name="connsiteY22" fmla="*/ 1668782 h 4671148"/>
              <a:gd name="connsiteX23" fmla="*/ 3478645 w 4186080"/>
              <a:gd name="connsiteY23" fmla="*/ 1576967 h 4671148"/>
              <a:gd name="connsiteX24" fmla="*/ 2079224 w 4186080"/>
              <a:gd name="connsiteY24" fmla="*/ 744067 h 4671148"/>
              <a:gd name="connsiteX25" fmla="*/ 679804 w 4186080"/>
              <a:gd name="connsiteY25" fmla="*/ 1576967 h 4671148"/>
              <a:gd name="connsiteX26" fmla="*/ 655403 w 4186080"/>
              <a:gd name="connsiteY26" fmla="*/ 1627620 h 4671148"/>
              <a:gd name="connsiteX27" fmla="*/ 433771 w 4186080"/>
              <a:gd name="connsiteY27" fmla="*/ 1266408 h 4671148"/>
              <a:gd name="connsiteX28" fmla="*/ 3361 w 4186080"/>
              <a:gd name="connsiteY28" fmla="*/ 1268344 h 4671148"/>
              <a:gd name="connsiteX29" fmla="*/ 25541 w 4186080"/>
              <a:gd name="connsiteY29" fmla="*/ 1222301 h 4671148"/>
              <a:gd name="connsiteX30" fmla="*/ 2079224 w 4186080"/>
              <a:gd name="connsiteY30" fmla="*/ 0 h 4671148"/>
              <a:gd name="connsiteX0" fmla="*/ 1923096 w 4186080"/>
              <a:gd name="connsiteY0" fmla="*/ 3915048 h 3919083"/>
              <a:gd name="connsiteX1" fmla="*/ 1920826 w 4186080"/>
              <a:gd name="connsiteY1" fmla="*/ 3919083 h 3919083"/>
              <a:gd name="connsiteX2" fmla="*/ 1923096 w 4186080"/>
              <a:gd name="connsiteY2" fmla="*/ 3915048 h 3919083"/>
              <a:gd name="connsiteX3" fmla="*/ 3514404 w 4186080"/>
              <a:gd name="connsiteY3" fmla="*/ 1668482 h 3919083"/>
              <a:gd name="connsiteX4" fmla="*/ 3522874 w 4186080"/>
              <a:gd name="connsiteY4" fmla="*/ 1668782 h 3919083"/>
              <a:gd name="connsiteX5" fmla="*/ 3514404 w 4186080"/>
              <a:gd name="connsiteY5" fmla="*/ 1668482 h 3919083"/>
              <a:gd name="connsiteX6" fmla="*/ 655403 w 4186080"/>
              <a:gd name="connsiteY6" fmla="*/ 1627620 h 3919083"/>
              <a:gd name="connsiteX7" fmla="*/ 660628 w 4186080"/>
              <a:gd name="connsiteY7" fmla="*/ 1636134 h 3919083"/>
              <a:gd name="connsiteX8" fmla="*/ 655403 w 4186080"/>
              <a:gd name="connsiteY8" fmla="*/ 1627620 h 3919083"/>
              <a:gd name="connsiteX9" fmla="*/ 4186080 w 4186080"/>
              <a:gd name="connsiteY9" fmla="*/ 1321296 h 3919083"/>
              <a:gd name="connsiteX10" fmla="*/ 4182916 w 4186080"/>
              <a:gd name="connsiteY10" fmla="*/ 1326113 h 3919083"/>
              <a:gd name="connsiteX11" fmla="*/ 4186080 w 4186080"/>
              <a:gd name="connsiteY11" fmla="*/ 1321296 h 3919083"/>
              <a:gd name="connsiteX12" fmla="*/ 3361 w 4186080"/>
              <a:gd name="connsiteY12" fmla="*/ 1268344 h 3919083"/>
              <a:gd name="connsiteX13" fmla="*/ 0 w 4186080"/>
              <a:gd name="connsiteY13" fmla="*/ 1268359 h 3919083"/>
              <a:gd name="connsiteX14" fmla="*/ 3361 w 4186080"/>
              <a:gd name="connsiteY14" fmla="*/ 1268344 h 3919083"/>
              <a:gd name="connsiteX15" fmla="*/ 2079224 w 4186080"/>
              <a:gd name="connsiteY15" fmla="*/ 0 h 3919083"/>
              <a:gd name="connsiteX16" fmla="*/ 4132907 w 4186080"/>
              <a:gd name="connsiteY16" fmla="*/ 1222301 h 3919083"/>
              <a:gd name="connsiteX17" fmla="*/ 4182916 w 4186080"/>
              <a:gd name="connsiteY17" fmla="*/ 1326113 h 3919083"/>
              <a:gd name="connsiteX18" fmla="*/ 3947908 w 4186080"/>
              <a:gd name="connsiteY18" fmla="*/ 1683835 h 3919083"/>
              <a:gd name="connsiteX19" fmla="*/ 3522874 w 4186080"/>
              <a:gd name="connsiteY19" fmla="*/ 1668782 h 3919083"/>
              <a:gd name="connsiteX20" fmla="*/ 3478645 w 4186080"/>
              <a:gd name="connsiteY20" fmla="*/ 1576967 h 3919083"/>
              <a:gd name="connsiteX21" fmla="*/ 2079224 w 4186080"/>
              <a:gd name="connsiteY21" fmla="*/ 744067 h 3919083"/>
              <a:gd name="connsiteX22" fmla="*/ 679804 w 4186080"/>
              <a:gd name="connsiteY22" fmla="*/ 1576967 h 3919083"/>
              <a:gd name="connsiteX23" fmla="*/ 655403 w 4186080"/>
              <a:gd name="connsiteY23" fmla="*/ 1627620 h 3919083"/>
              <a:gd name="connsiteX24" fmla="*/ 433771 w 4186080"/>
              <a:gd name="connsiteY24" fmla="*/ 1266408 h 3919083"/>
              <a:gd name="connsiteX25" fmla="*/ 3361 w 4186080"/>
              <a:gd name="connsiteY25" fmla="*/ 1268344 h 3919083"/>
              <a:gd name="connsiteX26" fmla="*/ 25541 w 4186080"/>
              <a:gd name="connsiteY26" fmla="*/ 1222301 h 3919083"/>
              <a:gd name="connsiteX27" fmla="*/ 2079224 w 4186080"/>
              <a:gd name="connsiteY27" fmla="*/ 0 h 3919083"/>
              <a:gd name="connsiteX0" fmla="*/ 3514404 w 4186080"/>
              <a:gd name="connsiteY0" fmla="*/ 1668482 h 1683835"/>
              <a:gd name="connsiteX1" fmla="*/ 3522874 w 4186080"/>
              <a:gd name="connsiteY1" fmla="*/ 1668782 h 1683835"/>
              <a:gd name="connsiteX2" fmla="*/ 3514404 w 4186080"/>
              <a:gd name="connsiteY2" fmla="*/ 1668482 h 1683835"/>
              <a:gd name="connsiteX3" fmla="*/ 655403 w 4186080"/>
              <a:gd name="connsiteY3" fmla="*/ 1627620 h 1683835"/>
              <a:gd name="connsiteX4" fmla="*/ 660628 w 4186080"/>
              <a:gd name="connsiteY4" fmla="*/ 1636134 h 1683835"/>
              <a:gd name="connsiteX5" fmla="*/ 655403 w 4186080"/>
              <a:gd name="connsiteY5" fmla="*/ 1627620 h 1683835"/>
              <a:gd name="connsiteX6" fmla="*/ 4186080 w 4186080"/>
              <a:gd name="connsiteY6" fmla="*/ 1321296 h 1683835"/>
              <a:gd name="connsiteX7" fmla="*/ 4182916 w 4186080"/>
              <a:gd name="connsiteY7" fmla="*/ 1326113 h 1683835"/>
              <a:gd name="connsiteX8" fmla="*/ 4186080 w 4186080"/>
              <a:gd name="connsiteY8" fmla="*/ 1321296 h 1683835"/>
              <a:gd name="connsiteX9" fmla="*/ 3361 w 4186080"/>
              <a:gd name="connsiteY9" fmla="*/ 1268344 h 1683835"/>
              <a:gd name="connsiteX10" fmla="*/ 0 w 4186080"/>
              <a:gd name="connsiteY10" fmla="*/ 1268359 h 1683835"/>
              <a:gd name="connsiteX11" fmla="*/ 3361 w 4186080"/>
              <a:gd name="connsiteY11" fmla="*/ 1268344 h 1683835"/>
              <a:gd name="connsiteX12" fmla="*/ 2079224 w 4186080"/>
              <a:gd name="connsiteY12" fmla="*/ 0 h 1683835"/>
              <a:gd name="connsiteX13" fmla="*/ 4132907 w 4186080"/>
              <a:gd name="connsiteY13" fmla="*/ 1222301 h 1683835"/>
              <a:gd name="connsiteX14" fmla="*/ 4182916 w 4186080"/>
              <a:gd name="connsiteY14" fmla="*/ 1326113 h 1683835"/>
              <a:gd name="connsiteX15" fmla="*/ 3947908 w 4186080"/>
              <a:gd name="connsiteY15" fmla="*/ 1683835 h 1683835"/>
              <a:gd name="connsiteX16" fmla="*/ 3522874 w 4186080"/>
              <a:gd name="connsiteY16" fmla="*/ 1668782 h 1683835"/>
              <a:gd name="connsiteX17" fmla="*/ 3478645 w 4186080"/>
              <a:gd name="connsiteY17" fmla="*/ 1576967 h 1683835"/>
              <a:gd name="connsiteX18" fmla="*/ 2079224 w 4186080"/>
              <a:gd name="connsiteY18" fmla="*/ 744067 h 1683835"/>
              <a:gd name="connsiteX19" fmla="*/ 679804 w 4186080"/>
              <a:gd name="connsiteY19" fmla="*/ 1576967 h 1683835"/>
              <a:gd name="connsiteX20" fmla="*/ 655403 w 4186080"/>
              <a:gd name="connsiteY20" fmla="*/ 1627620 h 1683835"/>
              <a:gd name="connsiteX21" fmla="*/ 433771 w 4186080"/>
              <a:gd name="connsiteY21" fmla="*/ 1266408 h 1683835"/>
              <a:gd name="connsiteX22" fmla="*/ 3361 w 4186080"/>
              <a:gd name="connsiteY22" fmla="*/ 1268344 h 1683835"/>
              <a:gd name="connsiteX23" fmla="*/ 25541 w 4186080"/>
              <a:gd name="connsiteY23" fmla="*/ 1222301 h 1683835"/>
              <a:gd name="connsiteX24" fmla="*/ 2079224 w 4186080"/>
              <a:gd name="connsiteY24" fmla="*/ 0 h 168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86080" h="1683835">
                <a:moveTo>
                  <a:pt x="3514404" y="1668482"/>
                </a:moveTo>
                <a:lnTo>
                  <a:pt x="3522874" y="1668782"/>
                </a:lnTo>
                <a:lnTo>
                  <a:pt x="3514404" y="1668482"/>
                </a:lnTo>
                <a:close/>
                <a:moveTo>
                  <a:pt x="655403" y="1627620"/>
                </a:moveTo>
                <a:lnTo>
                  <a:pt x="660628" y="1636134"/>
                </a:lnTo>
                <a:lnTo>
                  <a:pt x="655403" y="1627620"/>
                </a:lnTo>
                <a:close/>
                <a:moveTo>
                  <a:pt x="4186080" y="1321296"/>
                </a:moveTo>
                <a:lnTo>
                  <a:pt x="4182916" y="1326113"/>
                </a:lnTo>
                <a:lnTo>
                  <a:pt x="4186080" y="1321296"/>
                </a:lnTo>
                <a:close/>
                <a:moveTo>
                  <a:pt x="3361" y="1268344"/>
                </a:moveTo>
                <a:lnTo>
                  <a:pt x="0" y="1268359"/>
                </a:lnTo>
                <a:lnTo>
                  <a:pt x="3361" y="1268344"/>
                </a:lnTo>
                <a:close/>
                <a:moveTo>
                  <a:pt x="2079224" y="0"/>
                </a:moveTo>
                <a:cubicBezTo>
                  <a:pt x="2966032" y="0"/>
                  <a:pt x="3737403" y="494244"/>
                  <a:pt x="4132907" y="1222301"/>
                </a:cubicBezTo>
                <a:lnTo>
                  <a:pt x="4182916" y="1326113"/>
                </a:lnTo>
                <a:lnTo>
                  <a:pt x="3947908" y="1683835"/>
                </a:lnTo>
                <a:lnTo>
                  <a:pt x="3522874" y="1668782"/>
                </a:lnTo>
                <a:lnTo>
                  <a:pt x="3478645" y="1576967"/>
                </a:lnTo>
                <a:cubicBezTo>
                  <a:pt x="3209140" y="1080855"/>
                  <a:pt x="2683513" y="744067"/>
                  <a:pt x="2079224" y="744067"/>
                </a:cubicBezTo>
                <a:cubicBezTo>
                  <a:pt x="1474936" y="744067"/>
                  <a:pt x="949308" y="1080855"/>
                  <a:pt x="679804" y="1576967"/>
                </a:cubicBezTo>
                <a:lnTo>
                  <a:pt x="655403" y="1627620"/>
                </a:lnTo>
                <a:lnTo>
                  <a:pt x="433771" y="1266408"/>
                </a:lnTo>
                <a:lnTo>
                  <a:pt x="3361" y="1268344"/>
                </a:lnTo>
                <a:lnTo>
                  <a:pt x="25541" y="1222301"/>
                </a:lnTo>
                <a:cubicBezTo>
                  <a:pt x="421046" y="494244"/>
                  <a:pt x="1192417" y="0"/>
                  <a:pt x="2079224" y="0"/>
                </a:cubicBezTo>
                <a:close/>
              </a:path>
            </a:pathLst>
          </a:cu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ctr">
            <a:noAutofit/>
          </a:bodyPr>
          <a:lstStyle/>
          <a:p>
            <a:pPr algn="ctr"/>
            <a:endParaRPr lang="en-US" err="1">
              <a:solidFill>
                <a:schemeClr val="tx1"/>
              </a:solidFill>
            </a:endParaRPr>
          </a:p>
        </p:txBody>
      </p:sp>
      <p:sp>
        <p:nvSpPr>
          <p:cNvPr id="2" name="Text Placeholder 1">
            <a:extLst>
              <a:ext uri="{FF2B5EF4-FFF2-40B4-BE49-F238E27FC236}">
                <a16:creationId xmlns:a16="http://schemas.microsoft.com/office/drawing/2014/main" id="{C84F66C5-0676-4F84-AB26-571B795A75D6}"/>
              </a:ext>
            </a:extLst>
          </p:cNvPr>
          <p:cNvSpPr>
            <a:spLocks noGrp="1"/>
          </p:cNvSpPr>
          <p:nvPr>
            <p:ph type="body" sz="quarter" idx="13"/>
          </p:nvPr>
        </p:nvSpPr>
        <p:spPr>
          <a:xfrm>
            <a:off x="85938" y="810243"/>
            <a:ext cx="12020124" cy="381000"/>
          </a:xfrm>
        </p:spPr>
        <p:txBody>
          <a:bodyPr/>
          <a:lstStyle/>
          <a:p>
            <a:r>
              <a:rPr lang="pl-PL" sz="2000" dirty="0"/>
              <a:t>Wykorzystaj mechanizmy zerowego zaufania, aby chronić użytkowników i aplikacje, bez względu na miejsce połączenia</a:t>
            </a:r>
            <a:endParaRPr lang="en-US" sz="2000" dirty="0"/>
          </a:p>
        </p:txBody>
      </p:sp>
      <p:sp>
        <p:nvSpPr>
          <p:cNvPr id="3" name="Title 2">
            <a:extLst>
              <a:ext uri="{FF2B5EF4-FFF2-40B4-BE49-F238E27FC236}">
                <a16:creationId xmlns:a16="http://schemas.microsoft.com/office/drawing/2014/main" id="{CF467A32-FCB7-F006-D633-3637FE690960}"/>
              </a:ext>
            </a:extLst>
          </p:cNvPr>
          <p:cNvSpPr>
            <a:spLocks noGrp="1"/>
          </p:cNvSpPr>
          <p:nvPr>
            <p:ph type="title"/>
          </p:nvPr>
        </p:nvSpPr>
        <p:spPr>
          <a:xfrm>
            <a:off x="85938" y="382376"/>
            <a:ext cx="11498270" cy="401362"/>
          </a:xfrm>
        </p:spPr>
        <p:txBody>
          <a:bodyPr/>
          <a:lstStyle/>
          <a:p>
            <a:r>
              <a:rPr lang="pl-PL" dirty="0"/>
              <a:t>Podejście HPE Aruba Networking do architektury </a:t>
            </a:r>
            <a:r>
              <a:rPr lang="en-US" dirty="0"/>
              <a:t>Zero Trust </a:t>
            </a:r>
            <a:r>
              <a:rPr lang="pl-PL" dirty="0"/>
              <a:t>i</a:t>
            </a:r>
            <a:r>
              <a:rPr lang="en-US" dirty="0"/>
              <a:t> SASE</a:t>
            </a:r>
          </a:p>
        </p:txBody>
      </p:sp>
      <p:sp>
        <p:nvSpPr>
          <p:cNvPr id="5" name="Slide Number Placeholder 4">
            <a:extLst>
              <a:ext uri="{FF2B5EF4-FFF2-40B4-BE49-F238E27FC236}">
                <a16:creationId xmlns:a16="http://schemas.microsoft.com/office/drawing/2014/main" id="{1AE45321-54DA-C4FF-7F0D-398019E88850}"/>
              </a:ext>
            </a:extLst>
          </p:cNvPr>
          <p:cNvSpPr>
            <a:spLocks noGrp="1"/>
          </p:cNvSpPr>
          <p:nvPr>
            <p:ph type="sldNum" sz="quarter" idx="15"/>
          </p:nvPr>
        </p:nvSpPr>
        <p:spPr/>
        <p:txBody>
          <a:bodyPr/>
          <a:lstStyle/>
          <a:p>
            <a:pPr defTabSz="1088421"/>
            <a:fld id="{104FC826-72BB-4AF1-BA01-A94F7396A7DC}" type="slidenum">
              <a:rPr lang="en-US" dirty="0" smtClean="0"/>
              <a:pPr defTabSz="1088421"/>
              <a:t>18</a:t>
            </a:fld>
            <a:endParaRPr lang="en-US"/>
          </a:p>
        </p:txBody>
      </p:sp>
      <p:sp>
        <p:nvSpPr>
          <p:cNvPr id="8" name="Arrow: Chevron 7">
            <a:extLst>
              <a:ext uri="{FF2B5EF4-FFF2-40B4-BE49-F238E27FC236}">
                <a16:creationId xmlns:a16="http://schemas.microsoft.com/office/drawing/2014/main" id="{573C3836-D9B9-05DE-5238-54E351F2C0E7}"/>
              </a:ext>
            </a:extLst>
          </p:cNvPr>
          <p:cNvSpPr/>
          <p:nvPr/>
        </p:nvSpPr>
        <p:spPr>
          <a:xfrm rot="17946298">
            <a:off x="2098267" y="2574306"/>
            <a:ext cx="346200" cy="756100"/>
          </a:xfrm>
          <a:prstGeom prst="chevron">
            <a:avLst>
              <a:gd name="adj" fmla="val 614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9" name="Arrow: Chevron 8">
            <a:extLst>
              <a:ext uri="{FF2B5EF4-FFF2-40B4-BE49-F238E27FC236}">
                <a16:creationId xmlns:a16="http://schemas.microsoft.com/office/drawing/2014/main" id="{F0EF8A84-2801-A8D9-7BE5-3B7AAF9EB837}"/>
              </a:ext>
            </a:extLst>
          </p:cNvPr>
          <p:cNvSpPr/>
          <p:nvPr/>
        </p:nvSpPr>
        <p:spPr>
          <a:xfrm rot="3759945">
            <a:off x="5678420" y="2805316"/>
            <a:ext cx="346200" cy="756100"/>
          </a:xfrm>
          <a:prstGeom prst="chevron">
            <a:avLst>
              <a:gd name="adj" fmla="val 614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Arrow: Chevron 9">
            <a:extLst>
              <a:ext uri="{FF2B5EF4-FFF2-40B4-BE49-F238E27FC236}">
                <a16:creationId xmlns:a16="http://schemas.microsoft.com/office/drawing/2014/main" id="{234F01CF-9C8F-C78E-F840-E2E376280BCF}"/>
              </a:ext>
            </a:extLst>
          </p:cNvPr>
          <p:cNvSpPr/>
          <p:nvPr/>
        </p:nvSpPr>
        <p:spPr>
          <a:xfrm rot="10800000">
            <a:off x="3632195" y="5449753"/>
            <a:ext cx="346200" cy="756100"/>
          </a:xfrm>
          <a:prstGeom prst="chevron">
            <a:avLst>
              <a:gd name="adj" fmla="val 614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Rectangle 10">
            <a:extLst>
              <a:ext uri="{FF2B5EF4-FFF2-40B4-BE49-F238E27FC236}">
                <a16:creationId xmlns:a16="http://schemas.microsoft.com/office/drawing/2014/main" id="{316D780F-F277-206F-49E4-054304FB7C6A}"/>
              </a:ext>
            </a:extLst>
          </p:cNvPr>
          <p:cNvSpPr/>
          <p:nvPr/>
        </p:nvSpPr>
        <p:spPr>
          <a:xfrm>
            <a:off x="2310845" y="1954039"/>
            <a:ext cx="3345409" cy="2751023"/>
          </a:xfrm>
          <a:prstGeom prst="rect">
            <a:avLst/>
          </a:prstGeom>
          <a:noFill/>
        </p:spPr>
        <p:txBody>
          <a:bodyPr wrap="none" lIns="91440" tIns="45720" rIns="91440" bIns="45720">
            <a:prstTxWarp prst="textArchUp">
              <a:avLst>
                <a:gd name="adj" fmla="val 10808880"/>
              </a:avLst>
            </a:prstTxWarp>
            <a:spAutoFit/>
          </a:bodyPr>
          <a:lstStyle/>
          <a:p>
            <a:pPr algn="ctr"/>
            <a:r>
              <a:rPr lang="en-US" sz="2400" b="1" cap="none" spc="0">
                <a:ln w="0"/>
                <a:solidFill>
                  <a:schemeClr val="bg1"/>
                </a:solidFill>
              </a:rPr>
              <a:t>Security Service Edge (SSE)</a:t>
            </a:r>
          </a:p>
        </p:txBody>
      </p:sp>
      <p:sp>
        <p:nvSpPr>
          <p:cNvPr id="12" name="Rectangle 11">
            <a:extLst>
              <a:ext uri="{FF2B5EF4-FFF2-40B4-BE49-F238E27FC236}">
                <a16:creationId xmlns:a16="http://schemas.microsoft.com/office/drawing/2014/main" id="{C4D562D9-8BEB-AEF1-A178-18B34739AF5D}"/>
              </a:ext>
            </a:extLst>
          </p:cNvPr>
          <p:cNvSpPr/>
          <p:nvPr/>
        </p:nvSpPr>
        <p:spPr>
          <a:xfrm rot="3757356">
            <a:off x="1620174" y="3051848"/>
            <a:ext cx="3243712" cy="2380691"/>
          </a:xfrm>
          <a:prstGeom prst="rect">
            <a:avLst/>
          </a:prstGeom>
          <a:noFill/>
        </p:spPr>
        <p:txBody>
          <a:bodyPr spcFirstLastPara="1" wrap="none" lIns="91440" tIns="45720" rIns="91440" bIns="45720" numCol="1" anchor="t">
            <a:prstTxWarp prst="textArchDown">
              <a:avLst/>
            </a:prstTxWarp>
            <a:spAutoFit/>
          </a:bodyPr>
          <a:lstStyle/>
          <a:p>
            <a:pPr algn="ctr"/>
            <a:r>
              <a:rPr lang="en-US" sz="2400" b="1">
                <a:ln w="0"/>
                <a:solidFill>
                  <a:schemeClr val="bg1"/>
                </a:solidFill>
              </a:rPr>
              <a:t>Network Access Control</a:t>
            </a:r>
            <a:endParaRPr lang="en-US"/>
          </a:p>
        </p:txBody>
      </p:sp>
      <p:sp>
        <p:nvSpPr>
          <p:cNvPr id="13" name="Rectangle 12">
            <a:extLst>
              <a:ext uri="{FF2B5EF4-FFF2-40B4-BE49-F238E27FC236}">
                <a16:creationId xmlns:a16="http://schemas.microsoft.com/office/drawing/2014/main" id="{3EDC6C4B-AD66-BDC9-A6C2-FF3519DA3A59}"/>
              </a:ext>
            </a:extLst>
          </p:cNvPr>
          <p:cNvSpPr/>
          <p:nvPr/>
        </p:nvSpPr>
        <p:spPr>
          <a:xfrm rot="18498430">
            <a:off x="3010823" y="3161735"/>
            <a:ext cx="3243712" cy="2377455"/>
          </a:xfrm>
          <a:prstGeom prst="rect">
            <a:avLst/>
          </a:prstGeom>
          <a:noFill/>
        </p:spPr>
        <p:txBody>
          <a:bodyPr wrap="none" lIns="91440" tIns="45720" rIns="91440" bIns="45720">
            <a:prstTxWarp prst="textArchDown">
              <a:avLst/>
            </a:prstTxWarp>
            <a:spAutoFit/>
          </a:bodyPr>
          <a:lstStyle/>
          <a:p>
            <a:pPr algn="ctr"/>
            <a:r>
              <a:rPr lang="en-US" sz="2400" b="1" err="1">
                <a:ln w="0"/>
                <a:solidFill>
                  <a:schemeClr val="bg1"/>
                </a:solidFill>
              </a:rPr>
              <a:t>EdgeConnect</a:t>
            </a:r>
            <a:r>
              <a:rPr lang="en-US" sz="2400" b="1">
                <a:ln w="0"/>
                <a:solidFill>
                  <a:schemeClr val="bg1"/>
                </a:solidFill>
              </a:rPr>
              <a:t> SD-WAN</a:t>
            </a:r>
            <a:endParaRPr lang="en-US" sz="2400" b="1" cap="none" spc="0">
              <a:ln w="0"/>
              <a:solidFill>
                <a:schemeClr val="bg1"/>
              </a:solidFill>
            </a:endParaRPr>
          </a:p>
        </p:txBody>
      </p:sp>
      <p:sp>
        <p:nvSpPr>
          <p:cNvPr id="14" name="Arc 13">
            <a:extLst>
              <a:ext uri="{FF2B5EF4-FFF2-40B4-BE49-F238E27FC236}">
                <a16:creationId xmlns:a16="http://schemas.microsoft.com/office/drawing/2014/main" id="{224DB31D-34FA-1FE5-5463-9F6FC011DBB9}"/>
              </a:ext>
            </a:extLst>
          </p:cNvPr>
          <p:cNvSpPr/>
          <p:nvPr/>
        </p:nvSpPr>
        <p:spPr>
          <a:xfrm rot="21291409">
            <a:off x="-924034" y="643663"/>
            <a:ext cx="8043362" cy="6670110"/>
          </a:xfrm>
          <a:prstGeom prst="arc">
            <a:avLst>
              <a:gd name="adj1" fmla="val 19388638"/>
              <a:gd name="adj2" fmla="val 2349383"/>
            </a:avLst>
          </a:prstGeom>
          <a:ln w="857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5" name="Oval 14">
            <a:extLst>
              <a:ext uri="{FF2B5EF4-FFF2-40B4-BE49-F238E27FC236}">
                <a16:creationId xmlns:a16="http://schemas.microsoft.com/office/drawing/2014/main" id="{5C7EB974-AD56-7C40-9579-86B2AD20ED74}"/>
              </a:ext>
            </a:extLst>
          </p:cNvPr>
          <p:cNvSpPr/>
          <p:nvPr/>
        </p:nvSpPr>
        <p:spPr>
          <a:xfrm>
            <a:off x="6021394" y="1520986"/>
            <a:ext cx="667132" cy="6671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Oval 15">
            <a:extLst>
              <a:ext uri="{FF2B5EF4-FFF2-40B4-BE49-F238E27FC236}">
                <a16:creationId xmlns:a16="http://schemas.microsoft.com/office/drawing/2014/main" id="{A81F17BF-8854-C4EA-FD8C-7FDCF492D10C}"/>
              </a:ext>
            </a:extLst>
          </p:cNvPr>
          <p:cNvSpPr/>
          <p:nvPr/>
        </p:nvSpPr>
        <p:spPr>
          <a:xfrm>
            <a:off x="6757514" y="3333277"/>
            <a:ext cx="667132" cy="66713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Oval 16">
            <a:extLst>
              <a:ext uri="{FF2B5EF4-FFF2-40B4-BE49-F238E27FC236}">
                <a16:creationId xmlns:a16="http://schemas.microsoft.com/office/drawing/2014/main" id="{EC855287-4089-BE59-C0F5-915409C817D4}"/>
              </a:ext>
            </a:extLst>
          </p:cNvPr>
          <p:cNvSpPr/>
          <p:nvPr/>
        </p:nvSpPr>
        <p:spPr>
          <a:xfrm>
            <a:off x="6222738" y="5190775"/>
            <a:ext cx="667132" cy="6671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Content Placeholder 3">
            <a:extLst>
              <a:ext uri="{FF2B5EF4-FFF2-40B4-BE49-F238E27FC236}">
                <a16:creationId xmlns:a16="http://schemas.microsoft.com/office/drawing/2014/main" id="{F86BDC35-24DE-DFA5-8700-EE243B1E4DD3}"/>
              </a:ext>
            </a:extLst>
          </p:cNvPr>
          <p:cNvSpPr txBox="1">
            <a:spLocks/>
          </p:cNvSpPr>
          <p:nvPr/>
        </p:nvSpPr>
        <p:spPr>
          <a:xfrm>
            <a:off x="6902831" y="1506720"/>
            <a:ext cx="5476492" cy="1414917"/>
          </a:xfrm>
          <a:prstGeom prst="rect">
            <a:avLst/>
          </a:prstGeom>
        </p:spPr>
        <p:txBody>
          <a:bodyPr/>
          <a:lstStyle>
            <a:lvl1pPr marL="0" indent="0" algn="l" defTabSz="914400" rtl="0" eaLnBrk="1" latinLnBrk="0" hangingPunct="1">
              <a:lnSpc>
                <a:spcPct val="90000"/>
              </a:lnSpc>
              <a:spcBef>
                <a:spcPts val="1200"/>
              </a:spcBef>
              <a:buFont typeface="Arial" panose="020B0604020202020204" pitchFamily="34" charset="0"/>
              <a:buNone/>
              <a:defRPr sz="1800" b="0" i="0" kern="1200">
                <a:solidFill>
                  <a:schemeClr val="tx1"/>
                </a:solidFill>
                <a:latin typeface="+mj-lt"/>
                <a:ea typeface="Open Sans Light" panose="020B0306030504020204" pitchFamily="34" charset="0"/>
                <a:cs typeface="Open Sans Light" panose="020B0306030504020204" pitchFamily="34" charset="0"/>
              </a:defRPr>
            </a:lvl1pPr>
            <a:lvl2pPr marL="411480" indent="-18288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mj-lt"/>
                <a:ea typeface="Open Sans Light" panose="020B0306030504020204" pitchFamily="34" charset="0"/>
                <a:cs typeface="Open Sans Light" panose="020B0306030504020204" pitchFamily="34" charset="0"/>
              </a:defRPr>
            </a:lvl2pPr>
            <a:lvl3pPr marL="548640" indent="-137160" algn="l" defTabSz="914400" rtl="0" eaLnBrk="1" latinLnBrk="0" hangingPunct="1">
              <a:lnSpc>
                <a:spcPct val="90000"/>
              </a:lnSpc>
              <a:spcBef>
                <a:spcPts val="600"/>
              </a:spcBef>
              <a:buFont typeface="Arial" panose="020B0604020202020204" pitchFamily="34" charset="0"/>
              <a:buChar char="–"/>
              <a:defRPr sz="1400" b="0" i="0" kern="1200">
                <a:solidFill>
                  <a:schemeClr val="tx1"/>
                </a:solidFill>
                <a:latin typeface="+mj-lt"/>
                <a:ea typeface="Open Sans Light" panose="020B0306030504020204" pitchFamily="34" charset="0"/>
                <a:cs typeface="Open Sans Light" panose="020B0306030504020204" pitchFamily="34" charset="0"/>
              </a:defRPr>
            </a:lvl3pPr>
            <a:lvl4pPr marL="73152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4pPr>
            <a:lvl5pPr marL="86868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a:lnSpc>
                <a:spcPct val="100000"/>
              </a:lnSpc>
              <a:spcBef>
                <a:spcPts val="0"/>
              </a:spcBef>
            </a:pPr>
            <a:r>
              <a:rPr lang="en-US" b="1" dirty="0"/>
              <a:t>HPE Aruba Networking SSE</a:t>
            </a:r>
          </a:p>
          <a:p>
            <a:pPr marL="285750" indent="-285750">
              <a:lnSpc>
                <a:spcPct val="100000"/>
              </a:lnSpc>
              <a:spcBef>
                <a:spcPts val="0"/>
              </a:spcBef>
              <a:buFont typeface="Arial" panose="020B0604020202020204" pitchFamily="34" charset="0"/>
              <a:buChar char="•"/>
            </a:pPr>
            <a:r>
              <a:rPr lang="en-US" sz="1600" dirty="0"/>
              <a:t>ZTNA</a:t>
            </a:r>
            <a:r>
              <a:rPr lang="pl-PL" sz="1600" dirty="0"/>
              <a:t> z Agentem na stacji końcowej lub bez Agenta</a:t>
            </a:r>
            <a:endParaRPr lang="en-US" sz="1600" dirty="0"/>
          </a:p>
          <a:p>
            <a:pPr marL="285750" indent="-285750">
              <a:lnSpc>
                <a:spcPct val="100000"/>
              </a:lnSpc>
              <a:spcBef>
                <a:spcPts val="0"/>
              </a:spcBef>
              <a:buFont typeface="Arial" panose="020B0604020202020204" pitchFamily="34" charset="0"/>
              <a:buChar char="•"/>
            </a:pPr>
            <a:r>
              <a:rPr lang="pl-PL" sz="1600" dirty="0"/>
              <a:t>Zarządzanie zunifikowanymi politykami </a:t>
            </a:r>
            <a:endParaRPr lang="en-US" sz="1600" dirty="0"/>
          </a:p>
          <a:p>
            <a:pPr marL="285750" indent="-285750">
              <a:lnSpc>
                <a:spcPct val="100000"/>
              </a:lnSpc>
              <a:spcBef>
                <a:spcPts val="0"/>
              </a:spcBef>
              <a:buFont typeface="Arial" panose="020B0604020202020204" pitchFamily="34" charset="0"/>
              <a:buChar char="•"/>
            </a:pPr>
            <a:r>
              <a:rPr lang="pl-PL" sz="1600" dirty="0"/>
              <a:t>Globalna siatka</a:t>
            </a:r>
            <a:r>
              <a:rPr lang="en-US" sz="1600" dirty="0"/>
              <a:t> PoPs</a:t>
            </a:r>
          </a:p>
          <a:p>
            <a:pPr>
              <a:lnSpc>
                <a:spcPct val="100000"/>
              </a:lnSpc>
              <a:spcBef>
                <a:spcPts val="0"/>
              </a:spcBef>
            </a:pPr>
            <a:endParaRPr lang="en-US" dirty="0"/>
          </a:p>
        </p:txBody>
      </p:sp>
      <p:sp>
        <p:nvSpPr>
          <p:cNvPr id="20" name="Content Placeholder 3">
            <a:extLst>
              <a:ext uri="{FF2B5EF4-FFF2-40B4-BE49-F238E27FC236}">
                <a16:creationId xmlns:a16="http://schemas.microsoft.com/office/drawing/2014/main" id="{61B1DCDE-4FA3-3AAB-0DE8-CE521C910DE1}"/>
              </a:ext>
            </a:extLst>
          </p:cNvPr>
          <p:cNvSpPr txBox="1">
            <a:spLocks/>
          </p:cNvSpPr>
          <p:nvPr/>
        </p:nvSpPr>
        <p:spPr>
          <a:xfrm>
            <a:off x="7559501" y="3338746"/>
            <a:ext cx="5476492" cy="1414917"/>
          </a:xfrm>
          <a:prstGeom prst="rect">
            <a:avLst/>
          </a:prstGeom>
        </p:spPr>
        <p:txBody>
          <a:bodyPr/>
          <a:lstStyle>
            <a:lvl1pPr marL="0" indent="0" algn="l" defTabSz="914400" rtl="0" eaLnBrk="1" latinLnBrk="0" hangingPunct="1">
              <a:lnSpc>
                <a:spcPct val="90000"/>
              </a:lnSpc>
              <a:spcBef>
                <a:spcPts val="1200"/>
              </a:spcBef>
              <a:buFont typeface="Arial" panose="020B0604020202020204" pitchFamily="34" charset="0"/>
              <a:buNone/>
              <a:defRPr sz="1800" b="0" i="0" kern="1200">
                <a:solidFill>
                  <a:schemeClr val="tx1"/>
                </a:solidFill>
                <a:latin typeface="+mj-lt"/>
                <a:ea typeface="Open Sans Light" panose="020B0306030504020204" pitchFamily="34" charset="0"/>
                <a:cs typeface="Open Sans Light" panose="020B0306030504020204" pitchFamily="34" charset="0"/>
              </a:defRPr>
            </a:lvl1pPr>
            <a:lvl2pPr marL="411480" indent="-18288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mj-lt"/>
                <a:ea typeface="Open Sans Light" panose="020B0306030504020204" pitchFamily="34" charset="0"/>
                <a:cs typeface="Open Sans Light" panose="020B0306030504020204" pitchFamily="34" charset="0"/>
              </a:defRPr>
            </a:lvl2pPr>
            <a:lvl3pPr marL="548640" indent="-137160" algn="l" defTabSz="914400" rtl="0" eaLnBrk="1" latinLnBrk="0" hangingPunct="1">
              <a:lnSpc>
                <a:spcPct val="90000"/>
              </a:lnSpc>
              <a:spcBef>
                <a:spcPts val="600"/>
              </a:spcBef>
              <a:buFont typeface="Arial" panose="020B0604020202020204" pitchFamily="34" charset="0"/>
              <a:buChar char="–"/>
              <a:defRPr sz="1400" b="0" i="0" kern="1200">
                <a:solidFill>
                  <a:schemeClr val="tx1"/>
                </a:solidFill>
                <a:latin typeface="+mj-lt"/>
                <a:ea typeface="Open Sans Light" panose="020B0306030504020204" pitchFamily="34" charset="0"/>
                <a:cs typeface="Open Sans Light" panose="020B0306030504020204" pitchFamily="34" charset="0"/>
              </a:defRPr>
            </a:lvl3pPr>
            <a:lvl4pPr marL="73152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4pPr>
            <a:lvl5pPr marL="86868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a:lnSpc>
                <a:spcPct val="100000"/>
              </a:lnSpc>
              <a:spcBef>
                <a:spcPts val="0"/>
              </a:spcBef>
            </a:pPr>
            <a:r>
              <a:rPr lang="en-US" b="1" dirty="0"/>
              <a:t>EdgeConnect SD-WAN</a:t>
            </a:r>
            <a:endParaRPr lang="en-US" sz="1600" dirty="0"/>
          </a:p>
          <a:p>
            <a:pPr marL="285750" indent="-285750">
              <a:lnSpc>
                <a:spcPct val="90000"/>
              </a:lnSpc>
              <a:spcBef>
                <a:spcPts val="400"/>
              </a:spcBef>
              <a:buFont typeface="Arial" panose="020B0604020202020204" pitchFamily="34" charset="0"/>
              <a:buChar char="•"/>
            </a:pPr>
            <a:r>
              <a:rPr lang="pl-PL" sz="1600" dirty="0"/>
              <a:t>Bezpieczny</a:t>
            </a:r>
            <a:r>
              <a:rPr lang="en-US" sz="1600" dirty="0"/>
              <a:t> SD-WAN</a:t>
            </a:r>
          </a:p>
          <a:p>
            <a:pPr marL="285750" indent="-285750">
              <a:lnSpc>
                <a:spcPct val="90000"/>
              </a:lnSpc>
              <a:spcBef>
                <a:spcPts val="400"/>
              </a:spcBef>
              <a:buFont typeface="Arial" panose="020B0604020202020204" pitchFamily="34" charset="0"/>
              <a:buChar char="•"/>
            </a:pPr>
            <a:r>
              <a:rPr lang="en-US" sz="1600" dirty="0"/>
              <a:t>Multi-cloud</a:t>
            </a:r>
          </a:p>
          <a:p>
            <a:pPr marL="285750" indent="-285750">
              <a:lnSpc>
                <a:spcPct val="90000"/>
              </a:lnSpc>
              <a:spcBef>
                <a:spcPts val="400"/>
              </a:spcBef>
              <a:buFont typeface="Arial" panose="020B0604020202020204" pitchFamily="34" charset="0"/>
              <a:buChar char="•"/>
            </a:pPr>
            <a:r>
              <a:rPr lang="pl-PL" sz="1600" dirty="0"/>
              <a:t>Zaawansowany</a:t>
            </a:r>
            <a:r>
              <a:rPr lang="en-US" sz="1600" dirty="0"/>
              <a:t> QoE</a:t>
            </a:r>
          </a:p>
          <a:p>
            <a:pPr>
              <a:lnSpc>
                <a:spcPct val="100000"/>
              </a:lnSpc>
              <a:spcBef>
                <a:spcPts val="0"/>
              </a:spcBef>
            </a:pPr>
            <a:endParaRPr lang="en-US" dirty="0"/>
          </a:p>
        </p:txBody>
      </p:sp>
      <p:sp>
        <p:nvSpPr>
          <p:cNvPr id="21" name="Content Placeholder 3">
            <a:extLst>
              <a:ext uri="{FF2B5EF4-FFF2-40B4-BE49-F238E27FC236}">
                <a16:creationId xmlns:a16="http://schemas.microsoft.com/office/drawing/2014/main" id="{6DD303A2-6EF7-3F8B-AADC-FBCC7590E9E1}"/>
              </a:ext>
            </a:extLst>
          </p:cNvPr>
          <p:cNvSpPr txBox="1">
            <a:spLocks/>
          </p:cNvSpPr>
          <p:nvPr/>
        </p:nvSpPr>
        <p:spPr>
          <a:xfrm>
            <a:off x="7081767" y="4818735"/>
            <a:ext cx="5476492" cy="1414917"/>
          </a:xfrm>
          <a:prstGeom prst="rect">
            <a:avLst/>
          </a:prstGeom>
        </p:spPr>
        <p:txBody>
          <a:bodyPr lIns="91440" tIns="45720" rIns="91440" bIns="45720" anchor="t"/>
          <a:lstStyle>
            <a:lvl1pPr marL="0" indent="0" algn="l" defTabSz="914400" rtl="0" eaLnBrk="1" latinLnBrk="0" hangingPunct="1">
              <a:lnSpc>
                <a:spcPct val="90000"/>
              </a:lnSpc>
              <a:spcBef>
                <a:spcPts val="1200"/>
              </a:spcBef>
              <a:buFont typeface="Arial" panose="020B0604020202020204" pitchFamily="34" charset="0"/>
              <a:buNone/>
              <a:defRPr sz="1800" b="0" i="0" kern="1200">
                <a:solidFill>
                  <a:schemeClr val="tx1"/>
                </a:solidFill>
                <a:latin typeface="+mj-lt"/>
                <a:ea typeface="Open Sans Light" panose="020B0306030504020204" pitchFamily="34" charset="0"/>
                <a:cs typeface="Open Sans Light" panose="020B0306030504020204" pitchFamily="34" charset="0"/>
              </a:defRPr>
            </a:lvl1pPr>
            <a:lvl2pPr marL="411480" indent="-182880" algn="l" defTabSz="914400" rtl="0" eaLnBrk="1" latinLnBrk="0" hangingPunct="1">
              <a:lnSpc>
                <a:spcPct val="90000"/>
              </a:lnSpc>
              <a:spcBef>
                <a:spcPts val="800"/>
              </a:spcBef>
              <a:buFont typeface="Arial" panose="020B0604020202020204" pitchFamily="34" charset="0"/>
              <a:buChar char="–"/>
              <a:defRPr sz="1600" b="0" i="0" kern="1200">
                <a:solidFill>
                  <a:schemeClr val="tx1"/>
                </a:solidFill>
                <a:latin typeface="+mj-lt"/>
                <a:ea typeface="Open Sans Light" panose="020B0306030504020204" pitchFamily="34" charset="0"/>
                <a:cs typeface="Open Sans Light" panose="020B0306030504020204" pitchFamily="34" charset="0"/>
              </a:defRPr>
            </a:lvl2pPr>
            <a:lvl3pPr marL="548640" indent="-137160" algn="l" defTabSz="914400" rtl="0" eaLnBrk="1" latinLnBrk="0" hangingPunct="1">
              <a:lnSpc>
                <a:spcPct val="90000"/>
              </a:lnSpc>
              <a:spcBef>
                <a:spcPts val="600"/>
              </a:spcBef>
              <a:buFont typeface="Arial" panose="020B0604020202020204" pitchFamily="34" charset="0"/>
              <a:buChar char="–"/>
              <a:defRPr sz="1400" b="0" i="0" kern="1200">
                <a:solidFill>
                  <a:schemeClr val="tx1"/>
                </a:solidFill>
                <a:latin typeface="+mj-lt"/>
                <a:ea typeface="Open Sans Light" panose="020B0306030504020204" pitchFamily="34" charset="0"/>
                <a:cs typeface="Open Sans Light" panose="020B0306030504020204" pitchFamily="34" charset="0"/>
              </a:defRPr>
            </a:lvl3pPr>
            <a:lvl4pPr marL="73152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4pPr>
            <a:lvl5pPr marL="868680" indent="-137160" algn="l" defTabSz="914400" rtl="0" eaLnBrk="1" latinLnBrk="0" hangingPunct="1">
              <a:lnSpc>
                <a:spcPct val="90000"/>
              </a:lnSpc>
              <a:spcBef>
                <a:spcPts val="600"/>
              </a:spcBef>
              <a:buFont typeface="Arial" panose="020B0604020202020204" pitchFamily="34" charset="0"/>
              <a:buChar char="–"/>
              <a:defRPr sz="1200" b="0" i="0" kern="1200">
                <a:solidFill>
                  <a:schemeClr val="tx1"/>
                </a:solidFill>
                <a:latin typeface="+mj-lt"/>
                <a:ea typeface="Open Sans Light" panose="020B0306030504020204" pitchFamily="34" charset="0"/>
                <a:cs typeface="Open Sans Light" panose="020B0306030504020204" pitchFamily="34" charset="0"/>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a:lnSpc>
                <a:spcPct val="100000"/>
              </a:lnSpc>
              <a:spcBef>
                <a:spcPts val="0"/>
              </a:spcBef>
            </a:pPr>
            <a:r>
              <a:rPr lang="en-US" b="1" dirty="0">
                <a:ea typeface="Open Sans Light"/>
                <a:cs typeface="Open Sans Light"/>
              </a:rPr>
              <a:t>HPE Aruba Networking Central NetConductor &amp; ClearPass Network Access Control</a:t>
            </a:r>
            <a:endParaRPr lang="en-US" dirty="0"/>
          </a:p>
          <a:p>
            <a:pPr marL="285750" indent="-285750">
              <a:spcBef>
                <a:spcPts val="400"/>
              </a:spcBef>
              <a:buFont typeface="Arial" panose="020B0604020202020204" pitchFamily="34" charset="0"/>
              <a:buChar char="•"/>
            </a:pPr>
            <a:r>
              <a:rPr lang="pl-PL" sz="1600" dirty="0">
                <a:ea typeface="Open Sans Light"/>
                <a:cs typeface="Open Sans Light"/>
              </a:rPr>
              <a:t>Widoczność i profilowanie użytkowników i stacji końcowych</a:t>
            </a:r>
            <a:br>
              <a:rPr lang="pl-PL" sz="1600" dirty="0">
                <a:ea typeface="Open Sans Light"/>
                <a:cs typeface="Open Sans Light"/>
              </a:rPr>
            </a:br>
            <a:r>
              <a:rPr lang="pl-PL" sz="1600" dirty="0">
                <a:ea typeface="Open Sans Light"/>
                <a:cs typeface="Open Sans Light"/>
              </a:rPr>
              <a:t>z wykorzystaniem AI</a:t>
            </a:r>
            <a:endParaRPr lang="en-US" sz="1600" dirty="0">
              <a:ea typeface="Open Sans Light"/>
              <a:cs typeface="Open Sans Light"/>
            </a:endParaRPr>
          </a:p>
          <a:p>
            <a:pPr marL="285750" indent="-285750">
              <a:spcBef>
                <a:spcPts val="400"/>
              </a:spcBef>
              <a:buFont typeface="Arial" panose="020B0604020202020204" pitchFamily="34" charset="0"/>
              <a:buChar char="•"/>
            </a:pPr>
            <a:r>
              <a:rPr lang="pl-PL" sz="1600" dirty="0">
                <a:ea typeface="Open Sans Light"/>
                <a:cs typeface="Open Sans Light"/>
              </a:rPr>
              <a:t>Dynamiczna segmentacja</a:t>
            </a:r>
            <a:endParaRPr lang="en-US" sz="1600" dirty="0">
              <a:ea typeface="Open Sans Light"/>
              <a:cs typeface="Open Sans Light"/>
            </a:endParaRPr>
          </a:p>
          <a:p>
            <a:pPr marL="285750" indent="-285750">
              <a:lnSpc>
                <a:spcPct val="90000"/>
              </a:lnSpc>
              <a:spcBef>
                <a:spcPts val="400"/>
              </a:spcBef>
              <a:buFont typeface="Arial" panose="020B0604020202020204" pitchFamily="34" charset="0"/>
              <a:buChar char="•"/>
            </a:pPr>
            <a:r>
              <a:rPr lang="pl-PL" sz="1600" dirty="0">
                <a:ea typeface="Open Sans Light"/>
                <a:cs typeface="Open Sans Light"/>
              </a:rPr>
              <a:t>Nieprzerwany monitoring</a:t>
            </a:r>
            <a:endParaRPr lang="en-US" dirty="0"/>
          </a:p>
          <a:p>
            <a:pPr>
              <a:lnSpc>
                <a:spcPct val="100000"/>
              </a:lnSpc>
              <a:spcBef>
                <a:spcPts val="0"/>
              </a:spcBef>
            </a:pPr>
            <a:endParaRPr lang="en-US" sz="1600" dirty="0"/>
          </a:p>
          <a:p>
            <a:pPr marL="285750" indent="-285750">
              <a:lnSpc>
                <a:spcPct val="100000"/>
              </a:lnSpc>
              <a:spcBef>
                <a:spcPts val="0"/>
              </a:spcBef>
              <a:buFont typeface="Arial" panose="020B0604020202020204" pitchFamily="34" charset="0"/>
              <a:buChar char="•"/>
            </a:pPr>
            <a:endParaRPr lang="en-US" dirty="0"/>
          </a:p>
        </p:txBody>
      </p:sp>
      <p:sp>
        <p:nvSpPr>
          <p:cNvPr id="23" name="TextBox 22">
            <a:extLst>
              <a:ext uri="{FF2B5EF4-FFF2-40B4-BE49-F238E27FC236}">
                <a16:creationId xmlns:a16="http://schemas.microsoft.com/office/drawing/2014/main" id="{E494E448-F470-4902-3B91-36096FE06AE3}"/>
              </a:ext>
            </a:extLst>
          </p:cNvPr>
          <p:cNvSpPr txBox="1"/>
          <p:nvPr/>
        </p:nvSpPr>
        <p:spPr>
          <a:xfrm>
            <a:off x="2576514" y="3702611"/>
            <a:ext cx="2854713" cy="897673"/>
          </a:xfrm>
          <a:prstGeom prst="rect">
            <a:avLst/>
          </a:prstGeom>
          <a:noFill/>
          <a:ln w="57150">
            <a:noFill/>
            <a:miter lim="800000"/>
          </a:ln>
        </p:spPr>
        <p:txBody>
          <a:bodyPr wrap="square" lIns="90000" tIns="90000" rIns="90000" bIns="90000" rtlCol="0" anchor="ctr" anchorCtr="0">
            <a:noAutofit/>
          </a:bodyPr>
          <a:lstStyle/>
          <a:p>
            <a:pPr marL="0" indent="0" algn="ctr">
              <a:buFont typeface="MetricHPE" panose="020B0503030202060203" pitchFamily="34" charset="0"/>
              <a:buNone/>
            </a:pPr>
            <a:r>
              <a:rPr lang="en-US" sz="3200" b="1"/>
              <a:t>Zero Trust &amp;</a:t>
            </a:r>
          </a:p>
          <a:p>
            <a:pPr marL="0" indent="0" algn="ctr">
              <a:buFont typeface="MetricHPE" panose="020B0503030202060203" pitchFamily="34" charset="0"/>
              <a:buNone/>
            </a:pPr>
            <a:r>
              <a:rPr lang="en-US" sz="3200" b="1"/>
              <a:t>SASE</a:t>
            </a:r>
          </a:p>
        </p:txBody>
      </p:sp>
      <p:pic>
        <p:nvPicPr>
          <p:cNvPr id="24" name="Picture 23" descr="A black background with orange letters&#10;&#10;Description automatically generated with low confidence">
            <a:extLst>
              <a:ext uri="{FF2B5EF4-FFF2-40B4-BE49-F238E27FC236}">
                <a16:creationId xmlns:a16="http://schemas.microsoft.com/office/drawing/2014/main" id="{24C90092-EB98-C64C-8697-A762F219B6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67053" y="3051533"/>
            <a:ext cx="2273635" cy="755949"/>
          </a:xfrm>
          <a:prstGeom prst="rect">
            <a:avLst/>
          </a:prstGeom>
        </p:spPr>
      </p:pic>
      <p:pic>
        <p:nvPicPr>
          <p:cNvPr id="25" name="Picture 24">
            <a:extLst>
              <a:ext uri="{FF2B5EF4-FFF2-40B4-BE49-F238E27FC236}">
                <a16:creationId xmlns:a16="http://schemas.microsoft.com/office/drawing/2014/main" id="{4DEC1DAA-88DF-C59D-DDDB-2700E8A5A98D}"/>
              </a:ext>
            </a:extLst>
          </p:cNvPr>
          <p:cNvPicPr>
            <a:picLocks noChangeAspect="1"/>
          </p:cNvPicPr>
          <p:nvPr/>
        </p:nvPicPr>
        <p:blipFill rotWithShape="1">
          <a:blip r:embed="rId4" cstate="print">
            <a:lum bright="100000"/>
            <a:extLst>
              <a:ext uri="{28A0092B-C50C-407E-A947-70E740481C1C}">
                <a14:useLocalDpi xmlns:a14="http://schemas.microsoft.com/office/drawing/2010/main" val="0"/>
              </a:ext>
            </a:extLst>
          </a:blip>
          <a:srcRect t="10087" r="50007" b="10547"/>
          <a:stretch/>
        </p:blipFill>
        <p:spPr>
          <a:xfrm>
            <a:off x="6883943" y="3474230"/>
            <a:ext cx="479716" cy="351066"/>
          </a:xfrm>
          <a:prstGeom prst="rect">
            <a:avLst/>
          </a:prstGeom>
        </p:spPr>
      </p:pic>
      <p:grpSp>
        <p:nvGrpSpPr>
          <p:cNvPr id="26" name="Graphic 24">
            <a:extLst>
              <a:ext uri="{FF2B5EF4-FFF2-40B4-BE49-F238E27FC236}">
                <a16:creationId xmlns:a16="http://schemas.microsoft.com/office/drawing/2014/main" id="{99897F09-199B-469E-FB52-BCCAF3268501}"/>
              </a:ext>
            </a:extLst>
          </p:cNvPr>
          <p:cNvGrpSpPr/>
          <p:nvPr/>
        </p:nvGrpSpPr>
        <p:grpSpPr>
          <a:xfrm>
            <a:off x="6162196" y="1649670"/>
            <a:ext cx="396910" cy="356425"/>
            <a:chOff x="9237410" y="2542197"/>
            <a:chExt cx="485614" cy="436082"/>
          </a:xfrm>
          <a:solidFill>
            <a:schemeClr val="bg1"/>
          </a:solidFill>
        </p:grpSpPr>
        <p:sp>
          <p:nvSpPr>
            <p:cNvPr id="27" name="Freeform: Shape 26">
              <a:extLst>
                <a:ext uri="{FF2B5EF4-FFF2-40B4-BE49-F238E27FC236}">
                  <a16:creationId xmlns:a16="http://schemas.microsoft.com/office/drawing/2014/main" id="{3BEE62A3-B63D-8F6E-490B-94EBE2225ECD}"/>
                </a:ext>
              </a:extLst>
            </p:cNvPr>
            <p:cNvSpPr/>
            <p:nvPr/>
          </p:nvSpPr>
          <p:spPr>
            <a:xfrm>
              <a:off x="9300494" y="2834451"/>
              <a:ext cx="358789" cy="143828"/>
            </a:xfrm>
            <a:custGeom>
              <a:avLst/>
              <a:gdLst>
                <a:gd name="connsiteX0" fmla="*/ 308848 w 358789"/>
                <a:gd name="connsiteY0" fmla="*/ 53853 h 143828"/>
                <a:gd name="connsiteX1" fmla="*/ 179395 w 358789"/>
                <a:gd name="connsiteY1" fmla="*/ 0 h 143828"/>
                <a:gd name="connsiteX2" fmla="*/ 49941 w 358789"/>
                <a:gd name="connsiteY2" fmla="*/ 53853 h 143828"/>
                <a:gd name="connsiteX3" fmla="*/ 0 w 358789"/>
                <a:gd name="connsiteY3" fmla="*/ 103767 h 143828"/>
                <a:gd name="connsiteX4" fmla="*/ 40085 w 358789"/>
                <a:gd name="connsiteY4" fmla="*/ 143829 h 143828"/>
                <a:gd name="connsiteX5" fmla="*/ 168224 w 358789"/>
                <a:gd name="connsiteY5" fmla="*/ 15762 h 143828"/>
                <a:gd name="connsiteX6" fmla="*/ 179395 w 358789"/>
                <a:gd name="connsiteY6" fmla="*/ 11165 h 143828"/>
                <a:gd name="connsiteX7" fmla="*/ 190566 w 358789"/>
                <a:gd name="connsiteY7" fmla="*/ 15762 h 143828"/>
                <a:gd name="connsiteX8" fmla="*/ 318705 w 358789"/>
                <a:gd name="connsiteY8" fmla="*/ 143829 h 143828"/>
                <a:gd name="connsiteX9" fmla="*/ 358789 w 358789"/>
                <a:gd name="connsiteY9" fmla="*/ 103767 h 143828"/>
                <a:gd name="connsiteX10" fmla="*/ 308848 w 358789"/>
                <a:gd name="connsiteY10" fmla="*/ 53853 h 14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789" h="143828">
                  <a:moveTo>
                    <a:pt x="308848" y="53853"/>
                  </a:moveTo>
                  <a:cubicBezTo>
                    <a:pt x="273363" y="18389"/>
                    <a:pt x="226050" y="0"/>
                    <a:pt x="179395" y="0"/>
                  </a:cubicBezTo>
                  <a:cubicBezTo>
                    <a:pt x="132739" y="0"/>
                    <a:pt x="86083" y="17732"/>
                    <a:pt x="49941" y="53853"/>
                  </a:cubicBezTo>
                  <a:lnTo>
                    <a:pt x="0" y="103767"/>
                  </a:lnTo>
                  <a:lnTo>
                    <a:pt x="40085" y="143829"/>
                  </a:lnTo>
                  <a:lnTo>
                    <a:pt x="168224" y="15762"/>
                  </a:lnTo>
                  <a:cubicBezTo>
                    <a:pt x="171509" y="12478"/>
                    <a:pt x="175452" y="11165"/>
                    <a:pt x="179395" y="11165"/>
                  </a:cubicBezTo>
                  <a:cubicBezTo>
                    <a:pt x="183337" y="11165"/>
                    <a:pt x="187280" y="12478"/>
                    <a:pt x="190566" y="15762"/>
                  </a:cubicBezTo>
                  <a:lnTo>
                    <a:pt x="318705" y="143829"/>
                  </a:lnTo>
                  <a:lnTo>
                    <a:pt x="358789" y="103767"/>
                  </a:lnTo>
                  <a:lnTo>
                    <a:pt x="308848" y="53853"/>
                  </a:lnTo>
                  <a:close/>
                </a:path>
              </a:pathLst>
            </a:custGeom>
            <a:grpFill/>
            <a:ln w="6571"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42B9756F-E1CF-8CC3-BDD4-A580A69C6217}"/>
                </a:ext>
              </a:extLst>
            </p:cNvPr>
            <p:cNvSpPr/>
            <p:nvPr/>
          </p:nvSpPr>
          <p:spPr>
            <a:xfrm>
              <a:off x="9505100" y="2543510"/>
              <a:ext cx="217924" cy="309329"/>
            </a:xfrm>
            <a:custGeom>
              <a:avLst/>
              <a:gdLst>
                <a:gd name="connsiteX0" fmla="*/ 6331 w 217924"/>
                <a:gd name="connsiteY0" fmla="*/ 66989 h 309329"/>
                <a:gd name="connsiteX1" fmla="*/ 24731 w 217924"/>
                <a:gd name="connsiteY1" fmla="*/ 205563 h 309329"/>
                <a:gd name="connsiteX2" fmla="*/ 135784 w 217924"/>
                <a:gd name="connsiteY2" fmla="*/ 290941 h 309329"/>
                <a:gd name="connsiteX3" fmla="*/ 203468 w 217924"/>
                <a:gd name="connsiteY3" fmla="*/ 309330 h 309329"/>
                <a:gd name="connsiteX4" fmla="*/ 217925 w 217924"/>
                <a:gd name="connsiteY4" fmla="*/ 254820 h 309329"/>
                <a:gd name="connsiteX5" fmla="*/ 43130 w 217924"/>
                <a:gd name="connsiteY5" fmla="*/ 208190 h 309329"/>
                <a:gd name="connsiteX6" fmla="*/ 33273 w 217924"/>
                <a:gd name="connsiteY6" fmla="*/ 200966 h 309329"/>
                <a:gd name="connsiteX7" fmla="*/ 31959 w 217924"/>
                <a:gd name="connsiteY7" fmla="*/ 189145 h 309329"/>
                <a:gd name="connsiteX8" fmla="*/ 78615 w 217924"/>
                <a:gd name="connsiteY8" fmla="*/ 14449 h 309329"/>
                <a:gd name="connsiteX9" fmla="*/ 24074 w 217924"/>
                <a:gd name="connsiteY9" fmla="*/ 0 h 309329"/>
                <a:gd name="connsiteX10" fmla="*/ 6331 w 217924"/>
                <a:gd name="connsiteY10" fmla="*/ 66989 h 30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924" h="309329">
                  <a:moveTo>
                    <a:pt x="6331" y="66989"/>
                  </a:moveTo>
                  <a:cubicBezTo>
                    <a:pt x="-6811" y="115588"/>
                    <a:pt x="1074" y="164845"/>
                    <a:pt x="24731" y="205563"/>
                  </a:cubicBezTo>
                  <a:cubicBezTo>
                    <a:pt x="48387" y="246282"/>
                    <a:pt x="87157" y="277806"/>
                    <a:pt x="135784" y="290941"/>
                  </a:cubicBezTo>
                  <a:lnTo>
                    <a:pt x="203468" y="309330"/>
                  </a:lnTo>
                  <a:lnTo>
                    <a:pt x="217925" y="254820"/>
                  </a:lnTo>
                  <a:lnTo>
                    <a:pt x="43130" y="208190"/>
                  </a:lnTo>
                  <a:cubicBezTo>
                    <a:pt x="39187" y="206877"/>
                    <a:pt x="35245" y="204250"/>
                    <a:pt x="33273" y="200966"/>
                  </a:cubicBezTo>
                  <a:cubicBezTo>
                    <a:pt x="31302" y="197682"/>
                    <a:pt x="30645" y="193085"/>
                    <a:pt x="31959" y="189145"/>
                  </a:cubicBezTo>
                  <a:lnTo>
                    <a:pt x="78615" y="14449"/>
                  </a:lnTo>
                  <a:lnTo>
                    <a:pt x="24074" y="0"/>
                  </a:lnTo>
                  <a:lnTo>
                    <a:pt x="6331" y="66989"/>
                  </a:lnTo>
                  <a:close/>
                </a:path>
              </a:pathLst>
            </a:custGeom>
            <a:grpFill/>
            <a:ln w="6571"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D23F3F2D-1271-6315-C4B4-D747A68CE18F}"/>
                </a:ext>
              </a:extLst>
            </p:cNvPr>
            <p:cNvSpPr/>
            <p:nvPr/>
          </p:nvSpPr>
          <p:spPr>
            <a:xfrm>
              <a:off x="9237410" y="2542197"/>
              <a:ext cx="218442" cy="309329"/>
            </a:xfrm>
            <a:custGeom>
              <a:avLst/>
              <a:gdLst>
                <a:gd name="connsiteX0" fmla="*/ 82798 w 218442"/>
                <a:gd name="connsiteY0" fmla="*/ 292254 h 309329"/>
                <a:gd name="connsiteX1" fmla="*/ 193851 w 218442"/>
                <a:gd name="connsiteY1" fmla="*/ 206877 h 309329"/>
                <a:gd name="connsiteX2" fmla="*/ 212251 w 218442"/>
                <a:gd name="connsiteY2" fmla="*/ 68302 h 309329"/>
                <a:gd name="connsiteX3" fmla="*/ 193851 w 218442"/>
                <a:gd name="connsiteY3" fmla="*/ 0 h 309329"/>
                <a:gd name="connsiteX4" fmla="*/ 139310 w 218442"/>
                <a:gd name="connsiteY4" fmla="*/ 14448 h 309329"/>
                <a:gd name="connsiteX5" fmla="*/ 185966 w 218442"/>
                <a:gd name="connsiteY5" fmla="*/ 189144 h 309329"/>
                <a:gd name="connsiteX6" fmla="*/ 184652 w 218442"/>
                <a:gd name="connsiteY6" fmla="*/ 200966 h 309329"/>
                <a:gd name="connsiteX7" fmla="*/ 174795 w 218442"/>
                <a:gd name="connsiteY7" fmla="*/ 208190 h 309329"/>
                <a:gd name="connsiteX8" fmla="*/ 0 w 218442"/>
                <a:gd name="connsiteY8" fmla="*/ 254819 h 309329"/>
                <a:gd name="connsiteX9" fmla="*/ 14457 w 218442"/>
                <a:gd name="connsiteY9" fmla="*/ 309330 h 309329"/>
                <a:gd name="connsiteX10" fmla="*/ 82798 w 218442"/>
                <a:gd name="connsiteY10" fmla="*/ 292254 h 30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442" h="309329">
                  <a:moveTo>
                    <a:pt x="82798" y="292254"/>
                  </a:moveTo>
                  <a:cubicBezTo>
                    <a:pt x="131425" y="279119"/>
                    <a:pt x="170195" y="247595"/>
                    <a:pt x="193851" y="206877"/>
                  </a:cubicBezTo>
                  <a:cubicBezTo>
                    <a:pt x="216851" y="166158"/>
                    <a:pt x="225393" y="116902"/>
                    <a:pt x="212251" y="68302"/>
                  </a:cubicBezTo>
                  <a:lnTo>
                    <a:pt x="193851" y="0"/>
                  </a:lnTo>
                  <a:lnTo>
                    <a:pt x="139310" y="14448"/>
                  </a:lnTo>
                  <a:lnTo>
                    <a:pt x="185966" y="189144"/>
                  </a:lnTo>
                  <a:cubicBezTo>
                    <a:pt x="187280" y="193085"/>
                    <a:pt x="186623" y="197682"/>
                    <a:pt x="184652" y="200966"/>
                  </a:cubicBezTo>
                  <a:cubicBezTo>
                    <a:pt x="182680" y="204250"/>
                    <a:pt x="179395" y="206877"/>
                    <a:pt x="174795" y="208190"/>
                  </a:cubicBezTo>
                  <a:lnTo>
                    <a:pt x="0" y="254819"/>
                  </a:lnTo>
                  <a:lnTo>
                    <a:pt x="14457" y="309330"/>
                  </a:lnTo>
                  <a:lnTo>
                    <a:pt x="82798" y="292254"/>
                  </a:lnTo>
                  <a:close/>
                </a:path>
              </a:pathLst>
            </a:custGeom>
            <a:grpFill/>
            <a:ln w="6571" cap="flat">
              <a:noFill/>
              <a:prstDash val="solid"/>
              <a:miter/>
            </a:ln>
          </p:spPr>
          <p:txBody>
            <a:bodyPr rtlCol="0" anchor="ctr"/>
            <a:lstStyle/>
            <a:p>
              <a:endParaRPr lang="en-US"/>
            </a:p>
          </p:txBody>
        </p:sp>
      </p:grpSp>
      <p:pic>
        <p:nvPicPr>
          <p:cNvPr id="30" name="Picture 29">
            <a:extLst>
              <a:ext uri="{FF2B5EF4-FFF2-40B4-BE49-F238E27FC236}">
                <a16:creationId xmlns:a16="http://schemas.microsoft.com/office/drawing/2014/main" id="{B38998F9-5478-FAA5-3F7E-B9FAF4B40615}"/>
              </a:ext>
            </a:extLst>
          </p:cNvPr>
          <p:cNvPicPr>
            <a:picLocks noChangeAspect="1"/>
          </p:cNvPicPr>
          <p:nvPr/>
        </p:nvPicPr>
        <p:blipFill>
          <a:blip r:embed="rId5" cstate="print">
            <a:lum bright="100000"/>
            <a:extLst>
              <a:ext uri="{28A0092B-C50C-407E-A947-70E740481C1C}">
                <a14:useLocalDpi xmlns:a14="http://schemas.microsoft.com/office/drawing/2010/main" val="0"/>
              </a:ext>
            </a:extLst>
          </a:blip>
          <a:stretch>
            <a:fillRect/>
          </a:stretch>
        </p:blipFill>
        <p:spPr>
          <a:xfrm>
            <a:off x="6380989" y="5328031"/>
            <a:ext cx="376525" cy="395329"/>
          </a:xfrm>
          <a:prstGeom prst="rect">
            <a:avLst/>
          </a:prstGeom>
        </p:spPr>
      </p:pic>
    </p:spTree>
    <p:extLst>
      <p:ext uri="{BB962C8B-B14F-4D97-AF65-F5344CB8AC3E}">
        <p14:creationId xmlns:p14="http://schemas.microsoft.com/office/powerpoint/2010/main" val="151691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25797F-7121-5D8C-3A7D-66AAA3F1EFE6}"/>
              </a:ext>
            </a:extLst>
          </p:cNvPr>
          <p:cNvSpPr>
            <a:spLocks noGrp="1"/>
          </p:cNvSpPr>
          <p:nvPr>
            <p:ph type="sldNum" sz="quarter" idx="15"/>
          </p:nvPr>
        </p:nvSpPr>
        <p:spPr/>
        <p:txBody>
          <a:bodyPr/>
          <a:lstStyle/>
          <a:p>
            <a:pPr defTabSz="1088421"/>
            <a:fld id="{104FC826-72BB-4AF1-BA01-A94F7396A7DC}" type="slidenum">
              <a:rPr lang="en-US" smtClean="0"/>
              <a:pPr defTabSz="1088421"/>
              <a:t>19</a:t>
            </a:fld>
            <a:endParaRPr lang="en-US" dirty="0"/>
          </a:p>
        </p:txBody>
      </p:sp>
      <p:sp>
        <p:nvSpPr>
          <p:cNvPr id="5" name="Text Placeholder 1">
            <a:extLst>
              <a:ext uri="{FF2B5EF4-FFF2-40B4-BE49-F238E27FC236}">
                <a16:creationId xmlns:a16="http://schemas.microsoft.com/office/drawing/2014/main" id="{430E8457-F217-5AC0-E623-183C2B52E75E}"/>
              </a:ext>
            </a:extLst>
          </p:cNvPr>
          <p:cNvSpPr>
            <a:spLocks noGrp="1"/>
          </p:cNvSpPr>
          <p:nvPr>
            <p:ph type="body" sz="quarter" idx="13"/>
          </p:nvPr>
        </p:nvSpPr>
        <p:spPr>
          <a:xfrm>
            <a:off x="281746" y="704332"/>
            <a:ext cx="11502268" cy="381000"/>
          </a:xfrm>
        </p:spPr>
        <p:txBody>
          <a:bodyPr/>
          <a:lstStyle/>
          <a:p>
            <a:r>
              <a:rPr lang="pl-PL" dirty="0"/>
              <a:t>4 filary rozwiązania Secure Service Edge i praktyczne sposoby ich wykorzystania</a:t>
            </a:r>
            <a:endParaRPr lang="en-US" dirty="0"/>
          </a:p>
        </p:txBody>
      </p:sp>
      <p:sp>
        <p:nvSpPr>
          <p:cNvPr id="6" name="Title 29">
            <a:extLst>
              <a:ext uri="{FF2B5EF4-FFF2-40B4-BE49-F238E27FC236}">
                <a16:creationId xmlns:a16="http://schemas.microsoft.com/office/drawing/2014/main" id="{C6469F33-5D19-4434-5759-F9CEAFAB374C}"/>
              </a:ext>
            </a:extLst>
          </p:cNvPr>
          <p:cNvSpPr>
            <a:spLocks noGrp="1"/>
          </p:cNvSpPr>
          <p:nvPr>
            <p:ph type="title"/>
          </p:nvPr>
        </p:nvSpPr>
        <p:spPr>
          <a:xfrm>
            <a:off x="285743" y="391852"/>
            <a:ext cx="11498270" cy="401362"/>
          </a:xfrm>
        </p:spPr>
        <p:txBody>
          <a:bodyPr/>
          <a:lstStyle/>
          <a:p>
            <a:r>
              <a:rPr lang="pl-PL" dirty="0"/>
              <a:t>Połącz się bezpiecznie z każdego miejsca wykorzystując HPE Aruba SSE</a:t>
            </a:r>
            <a:endParaRPr lang="en-US" dirty="0"/>
          </a:p>
        </p:txBody>
      </p:sp>
      <p:sp>
        <p:nvSpPr>
          <p:cNvPr id="7" name="TextBox 6">
            <a:extLst>
              <a:ext uri="{FF2B5EF4-FFF2-40B4-BE49-F238E27FC236}">
                <a16:creationId xmlns:a16="http://schemas.microsoft.com/office/drawing/2014/main" id="{F07841EA-7CDE-924D-E7DC-77DCB0C4EFEF}"/>
              </a:ext>
            </a:extLst>
          </p:cNvPr>
          <p:cNvSpPr txBox="1"/>
          <p:nvPr/>
        </p:nvSpPr>
        <p:spPr>
          <a:xfrm>
            <a:off x="7605105" y="1555170"/>
            <a:ext cx="4178909" cy="1918458"/>
          </a:xfrm>
          <a:prstGeom prst="rect">
            <a:avLst/>
          </a:prstGeom>
        </p:spPr>
        <p:txBody>
          <a:bodyPr vert="horz" wrap="square" lIns="121904" tIns="60952" rIns="121904" bIns="60952" rtlCol="0">
            <a:spAutoFit/>
          </a:bodyPr>
          <a:lstStyle/>
          <a:p>
            <a:pPr algn="r" defTabSz="1219170">
              <a:spcAft>
                <a:spcPts val="800"/>
              </a:spcAft>
              <a:buClr>
                <a:srgbClr val="000000"/>
              </a:buClr>
              <a:defRPr/>
            </a:pPr>
            <a:r>
              <a:rPr lang="en-US" sz="2200" b="1" kern="0" dirty="0">
                <a:solidFill>
                  <a:schemeClr val="accent4">
                    <a:lumMod val="75000"/>
                  </a:schemeClr>
                </a:solidFill>
                <a:cs typeface="Arial"/>
                <a:sym typeface="Arial"/>
              </a:rPr>
              <a:t>Secure Web Gateway</a:t>
            </a:r>
          </a:p>
          <a:p>
            <a:pPr algn="r" defTabSz="1219170">
              <a:buClr>
                <a:srgbClr val="000000"/>
              </a:buClr>
              <a:defRPr/>
            </a:pPr>
            <a:r>
              <a:rPr lang="pl-PL" kern="0" dirty="0">
                <a:cs typeface="Arial"/>
                <a:sym typeface="Arial"/>
              </a:rPr>
              <a:t>Zabezpiecz </a:t>
            </a:r>
            <a:r>
              <a:rPr lang="pl-PL" kern="0" dirty="0">
                <a:solidFill>
                  <a:schemeClr val="accent4">
                    <a:lumMod val="50000"/>
                  </a:schemeClr>
                </a:solidFill>
                <a:cs typeface="Arial"/>
                <a:sym typeface="Arial"/>
              </a:rPr>
              <a:t>dostęp do internetu </a:t>
            </a:r>
            <a:r>
              <a:rPr lang="pl-PL" kern="0" dirty="0">
                <a:cs typeface="Arial"/>
                <a:sym typeface="Arial"/>
              </a:rPr>
              <a:t>i ochroń się przed atakami</a:t>
            </a:r>
            <a:r>
              <a:rPr lang="en-US" kern="0" dirty="0">
                <a:cs typeface="Arial"/>
                <a:sym typeface="Arial"/>
              </a:rPr>
              <a:t>. </a:t>
            </a:r>
          </a:p>
          <a:p>
            <a:pPr algn="r" defTabSz="1219170">
              <a:buClr>
                <a:srgbClr val="000000"/>
              </a:buClr>
              <a:defRPr/>
            </a:pPr>
            <a:endParaRPr lang="en-US" sz="2400" kern="0" dirty="0">
              <a:latin typeface="MetricHPE" panose="020B0303030202060203" pitchFamily="34" charset="77"/>
              <a:cs typeface="Arial"/>
              <a:sym typeface="Arial"/>
            </a:endParaRPr>
          </a:p>
          <a:p>
            <a:pPr algn="r" defTabSz="1219170">
              <a:buClr>
                <a:srgbClr val="000000"/>
              </a:buClr>
              <a:defRPr/>
            </a:pPr>
            <a:r>
              <a:rPr lang="pl-PL" sz="1400" kern="0" dirty="0">
                <a:cs typeface="Arial"/>
                <a:sym typeface="Arial"/>
              </a:rPr>
              <a:t>Filtrowanie</a:t>
            </a:r>
            <a:r>
              <a:rPr lang="en-US" sz="1400" kern="0" dirty="0">
                <a:cs typeface="Arial"/>
                <a:sym typeface="Arial"/>
              </a:rPr>
              <a:t>, </a:t>
            </a:r>
            <a:r>
              <a:rPr lang="pl-PL" sz="1400" kern="0" dirty="0">
                <a:cs typeface="Arial"/>
                <a:sym typeface="Arial"/>
              </a:rPr>
              <a:t>inspekcja </a:t>
            </a:r>
            <a:r>
              <a:rPr lang="en-US" sz="1400" kern="0" dirty="0">
                <a:cs typeface="Arial"/>
                <a:sym typeface="Arial"/>
              </a:rPr>
              <a:t>SSL, </a:t>
            </a:r>
            <a:r>
              <a:rPr lang="pl-PL" sz="1400" kern="0" dirty="0">
                <a:cs typeface="Arial"/>
                <a:sym typeface="Arial"/>
              </a:rPr>
              <a:t>skanowanie </a:t>
            </a:r>
            <a:r>
              <a:rPr lang="en-US" sz="1400" kern="0" dirty="0">
                <a:cs typeface="Arial"/>
                <a:sym typeface="Arial"/>
              </a:rPr>
              <a:t>malware, </a:t>
            </a:r>
            <a:br>
              <a:rPr lang="en-US" sz="1400" kern="0" dirty="0">
                <a:cs typeface="Arial"/>
                <a:sym typeface="Arial"/>
              </a:rPr>
            </a:br>
            <a:r>
              <a:rPr lang="pl-PL" sz="1400" kern="0" dirty="0">
                <a:cs typeface="Arial"/>
                <a:sym typeface="Arial"/>
              </a:rPr>
              <a:t>blokowanie oparte na reputacji</a:t>
            </a:r>
            <a:r>
              <a:rPr lang="en-US" sz="1400" kern="0" dirty="0">
                <a:cs typeface="Arial"/>
                <a:sym typeface="Arial"/>
              </a:rPr>
              <a:t>, Sandboxing</a:t>
            </a:r>
            <a:r>
              <a:rPr lang="pl-PL" sz="1400" kern="0" dirty="0">
                <a:cs typeface="Arial"/>
                <a:sym typeface="Arial"/>
              </a:rPr>
              <a:t> oparty na AI</a:t>
            </a:r>
            <a:endParaRPr lang="en-US" sz="1400" kern="0" dirty="0">
              <a:latin typeface="MetricHPE" panose="020B0303030202060203" pitchFamily="34" charset="77"/>
              <a:cs typeface="Arial"/>
              <a:sym typeface="Arial"/>
            </a:endParaRPr>
          </a:p>
        </p:txBody>
      </p:sp>
      <p:sp>
        <p:nvSpPr>
          <p:cNvPr id="8" name="TextBox 7">
            <a:extLst>
              <a:ext uri="{FF2B5EF4-FFF2-40B4-BE49-F238E27FC236}">
                <a16:creationId xmlns:a16="http://schemas.microsoft.com/office/drawing/2014/main" id="{E0DFB1AA-BCF2-D4D2-0D43-72FA8ED73341}"/>
              </a:ext>
            </a:extLst>
          </p:cNvPr>
          <p:cNvSpPr txBox="1"/>
          <p:nvPr/>
        </p:nvSpPr>
        <p:spPr>
          <a:xfrm>
            <a:off x="285744" y="3877679"/>
            <a:ext cx="3933926" cy="2133901"/>
          </a:xfrm>
          <a:prstGeom prst="rect">
            <a:avLst/>
          </a:prstGeom>
        </p:spPr>
        <p:txBody>
          <a:bodyPr vert="horz" wrap="square" lIns="121904" tIns="60952" rIns="121904" bIns="60952" rtlCol="0">
            <a:spAutoFit/>
          </a:bodyPr>
          <a:lstStyle/>
          <a:p>
            <a:pPr defTabSz="1219170">
              <a:spcAft>
                <a:spcPts val="800"/>
              </a:spcAft>
              <a:buClr>
                <a:srgbClr val="000000"/>
              </a:buClr>
              <a:defRPr/>
            </a:pPr>
            <a:r>
              <a:rPr lang="en-US" sz="2200" b="1" kern="0" dirty="0">
                <a:solidFill>
                  <a:schemeClr val="accent2">
                    <a:lumMod val="50000"/>
                  </a:schemeClr>
                </a:solidFill>
                <a:cs typeface="Arial"/>
                <a:sym typeface="Arial"/>
              </a:rPr>
              <a:t>Cloud Access Security Broker</a:t>
            </a:r>
          </a:p>
          <a:p>
            <a:pPr defTabSz="1219170">
              <a:buClr>
                <a:srgbClr val="000000"/>
              </a:buClr>
              <a:defRPr/>
            </a:pPr>
            <a:r>
              <a:rPr lang="pl-PL" kern="0" dirty="0">
                <a:cs typeface="Arial"/>
                <a:sym typeface="Arial"/>
              </a:rPr>
              <a:t>Zabezpiecz dostęp do </a:t>
            </a:r>
            <a:r>
              <a:rPr lang="pl-PL" kern="0" dirty="0">
                <a:solidFill>
                  <a:srgbClr val="01A982"/>
                </a:solidFill>
                <a:cs typeface="Arial"/>
                <a:sym typeface="Arial"/>
              </a:rPr>
              <a:t>aplikacji </a:t>
            </a:r>
            <a:r>
              <a:rPr lang="en-US" kern="0" dirty="0">
                <a:solidFill>
                  <a:srgbClr val="01A982"/>
                </a:solidFill>
                <a:cs typeface="Arial"/>
                <a:sym typeface="Arial"/>
              </a:rPr>
              <a:t>SaaS</a:t>
            </a:r>
            <a:br>
              <a:rPr lang="en-US" kern="0" dirty="0">
                <a:cs typeface="Arial"/>
                <a:sym typeface="Arial"/>
              </a:rPr>
            </a:br>
            <a:r>
              <a:rPr lang="pl-PL" kern="0" dirty="0">
                <a:cs typeface="Arial"/>
                <a:sym typeface="Arial"/>
              </a:rPr>
              <a:t>i ochroń się przed utratą danych (</a:t>
            </a:r>
            <a:r>
              <a:rPr lang="pl-PL" kern="0" dirty="0">
                <a:solidFill>
                  <a:srgbClr val="01A982"/>
                </a:solidFill>
                <a:cs typeface="Arial"/>
                <a:sym typeface="Arial"/>
              </a:rPr>
              <a:t>DLP</a:t>
            </a:r>
            <a:r>
              <a:rPr lang="pl-PL" kern="0" dirty="0">
                <a:cs typeface="Arial"/>
                <a:sym typeface="Arial"/>
              </a:rPr>
              <a:t>).</a:t>
            </a:r>
          </a:p>
          <a:p>
            <a:pPr defTabSz="1219170">
              <a:buClr>
                <a:srgbClr val="000000"/>
              </a:buClr>
              <a:defRPr/>
            </a:pPr>
            <a:endParaRPr lang="pl-PL" sz="2400" kern="0" dirty="0">
              <a:latin typeface="MetricHPE" panose="020B0303030202060203" pitchFamily="34" charset="77"/>
              <a:cs typeface="Arial"/>
              <a:sym typeface="Arial"/>
            </a:endParaRPr>
          </a:p>
          <a:p>
            <a:pPr defTabSz="1219170">
              <a:buClr>
                <a:srgbClr val="000000"/>
              </a:buClr>
              <a:defRPr/>
            </a:pPr>
            <a:r>
              <a:rPr lang="pl-PL" sz="1400" kern="0" dirty="0">
                <a:cs typeface="Arial"/>
                <a:sym typeface="Arial"/>
              </a:rPr>
              <a:t>Kontrola, ograniczanie i monitorowanie wykorzystania ponad 10 000 aplikacji SaaS między innymi </a:t>
            </a:r>
            <a:r>
              <a:rPr lang="en-US" sz="1400" kern="0" dirty="0">
                <a:cs typeface="Arial"/>
                <a:sym typeface="Arial"/>
              </a:rPr>
              <a:t>Box, </a:t>
            </a:r>
            <a:r>
              <a:rPr lang="en-US" sz="1400" kern="0" dirty="0" err="1">
                <a:cs typeface="Arial"/>
                <a:sym typeface="Arial"/>
              </a:rPr>
              <a:t>Sharepoint</a:t>
            </a:r>
            <a:r>
              <a:rPr lang="en-US" sz="1400" kern="0" dirty="0">
                <a:cs typeface="Arial"/>
                <a:sym typeface="Arial"/>
              </a:rPr>
              <a:t>, Facebook, Salesforce</a:t>
            </a:r>
          </a:p>
        </p:txBody>
      </p:sp>
      <p:sp>
        <p:nvSpPr>
          <p:cNvPr id="9" name="TextBox 8">
            <a:extLst>
              <a:ext uri="{FF2B5EF4-FFF2-40B4-BE49-F238E27FC236}">
                <a16:creationId xmlns:a16="http://schemas.microsoft.com/office/drawing/2014/main" id="{1A305371-8BD4-2539-CFFE-FF9C840CB7AB}"/>
              </a:ext>
            </a:extLst>
          </p:cNvPr>
          <p:cNvSpPr txBox="1"/>
          <p:nvPr/>
        </p:nvSpPr>
        <p:spPr>
          <a:xfrm>
            <a:off x="101600" y="1555170"/>
            <a:ext cx="4949170" cy="1972832"/>
          </a:xfrm>
          <a:prstGeom prst="rect">
            <a:avLst/>
          </a:prstGeom>
        </p:spPr>
        <p:txBody>
          <a:bodyPr vert="horz" wrap="square" lIns="121904" tIns="60952" rIns="121904" bIns="60952" rtlCol="0">
            <a:spAutoFit/>
          </a:bodyPr>
          <a:lstStyle/>
          <a:p>
            <a:pPr defTabSz="1219170">
              <a:spcAft>
                <a:spcPts val="800"/>
              </a:spcAft>
              <a:buClr>
                <a:srgbClr val="000000"/>
              </a:buClr>
              <a:defRPr/>
            </a:pPr>
            <a:r>
              <a:rPr lang="en-US" sz="2000" b="1" kern="0" dirty="0">
                <a:solidFill>
                  <a:schemeClr val="accent3">
                    <a:lumMod val="75000"/>
                  </a:schemeClr>
                </a:solidFill>
                <a:cs typeface="Arial"/>
                <a:sym typeface="Arial"/>
              </a:rPr>
              <a:t>Zero Trust Network Access</a:t>
            </a:r>
          </a:p>
          <a:p>
            <a:pPr defTabSz="1219170">
              <a:spcAft>
                <a:spcPts val="800"/>
              </a:spcAft>
              <a:buClr>
                <a:srgbClr val="000000"/>
              </a:buClr>
              <a:defRPr/>
            </a:pPr>
            <a:r>
              <a:rPr lang="pl-PL" kern="0" dirty="0">
                <a:cs typeface="Arial"/>
                <a:sym typeface="Arial"/>
              </a:rPr>
              <a:t>Bezpieczny dostęp do </a:t>
            </a:r>
            <a:r>
              <a:rPr lang="pl-PL" kern="0" dirty="0">
                <a:solidFill>
                  <a:schemeClr val="accent3">
                    <a:lumMod val="75000"/>
                  </a:schemeClr>
                </a:solidFill>
                <a:cs typeface="Arial"/>
                <a:sym typeface="Arial"/>
              </a:rPr>
              <a:t>aplikacji prywatnych</a:t>
            </a:r>
            <a:r>
              <a:rPr lang="pl-PL" kern="0" dirty="0">
                <a:cs typeface="Arial"/>
                <a:sym typeface="Arial"/>
              </a:rPr>
              <a:t>, hostowanych zarówno w DC jak i chmurze. </a:t>
            </a:r>
          </a:p>
          <a:p>
            <a:pPr defTabSz="1219170">
              <a:spcAft>
                <a:spcPts val="800"/>
              </a:spcAft>
              <a:buClr>
                <a:srgbClr val="000000"/>
              </a:buClr>
              <a:defRPr/>
            </a:pPr>
            <a:r>
              <a:rPr lang="pl-PL" sz="1400" kern="0" dirty="0">
                <a:latin typeface="+mj-lt"/>
                <a:cs typeface="Arial"/>
                <a:sym typeface="Arial"/>
              </a:rPr>
              <a:t>Minimalizacja zagrożeń poprzez punktowy dostęp do konkretnych aplikacji na konkretnych warunkach</a:t>
            </a:r>
            <a:r>
              <a:rPr lang="en-US" sz="1400" kern="0" dirty="0">
                <a:latin typeface="+mj-lt"/>
                <a:cs typeface="Arial"/>
                <a:sym typeface="Arial"/>
              </a:rPr>
              <a:t>, </a:t>
            </a:r>
            <a:r>
              <a:rPr lang="pl-PL" sz="1400" kern="0" dirty="0">
                <a:latin typeface="+mj-lt"/>
                <a:cs typeface="Arial"/>
                <a:sym typeface="Arial"/>
              </a:rPr>
              <a:t>dostęp client/clientless</a:t>
            </a:r>
            <a:endParaRPr lang="en-US" sz="1400" kern="0" dirty="0">
              <a:latin typeface="+mj-lt"/>
              <a:cs typeface="Arial"/>
              <a:sym typeface="Arial"/>
            </a:endParaRPr>
          </a:p>
          <a:p>
            <a:pPr>
              <a:lnSpc>
                <a:spcPct val="90000"/>
              </a:lnSpc>
              <a:spcAft>
                <a:spcPts val="400"/>
              </a:spcAft>
              <a:buSzPct val="130000"/>
            </a:pPr>
            <a:endParaRPr lang="en-US" sz="1800" i="1" kern="0" dirty="0">
              <a:latin typeface="MetricHPE" panose="020B0503030202060203" pitchFamily="34" charset="0"/>
              <a:cs typeface="Arial"/>
              <a:sym typeface="Arial"/>
            </a:endParaRPr>
          </a:p>
        </p:txBody>
      </p:sp>
      <p:sp>
        <p:nvSpPr>
          <p:cNvPr id="10" name="TextBox 9">
            <a:extLst>
              <a:ext uri="{FF2B5EF4-FFF2-40B4-BE49-F238E27FC236}">
                <a16:creationId xmlns:a16="http://schemas.microsoft.com/office/drawing/2014/main" id="{3535E9EA-73E6-941D-4E98-0E2D7606F1B9}"/>
              </a:ext>
            </a:extLst>
          </p:cNvPr>
          <p:cNvSpPr txBox="1"/>
          <p:nvPr/>
        </p:nvSpPr>
        <p:spPr>
          <a:xfrm>
            <a:off x="7430527" y="4120797"/>
            <a:ext cx="4642197" cy="2010791"/>
          </a:xfrm>
          <a:prstGeom prst="rect">
            <a:avLst/>
          </a:prstGeom>
        </p:spPr>
        <p:txBody>
          <a:bodyPr vert="horz" wrap="square" lIns="121904" tIns="60952" rIns="121904" bIns="60952" rtlCol="0">
            <a:spAutoFit/>
          </a:bodyPr>
          <a:lstStyle/>
          <a:p>
            <a:pPr algn="r" defTabSz="1219170">
              <a:spcAft>
                <a:spcPts val="800"/>
              </a:spcAft>
              <a:buClr>
                <a:srgbClr val="000000"/>
              </a:buClr>
              <a:defRPr/>
            </a:pPr>
            <a:r>
              <a:rPr lang="en-US" sz="2200" b="1" kern="0" dirty="0">
                <a:solidFill>
                  <a:srgbClr val="F48220"/>
                </a:solidFill>
                <a:cs typeface="Arial"/>
                <a:sym typeface="Arial"/>
              </a:rPr>
              <a:t>Digital Experience Monitoring</a:t>
            </a:r>
          </a:p>
          <a:p>
            <a:pPr algn="r" defTabSz="1219170">
              <a:buClr>
                <a:srgbClr val="000000"/>
              </a:buClr>
              <a:defRPr/>
            </a:pPr>
            <a:r>
              <a:rPr lang="pl-PL" kern="0" dirty="0">
                <a:solidFill>
                  <a:srgbClr val="F48220"/>
                </a:solidFill>
                <a:sym typeface="Arial"/>
              </a:rPr>
              <a:t>Monitoruj użytkowników </a:t>
            </a:r>
            <a:r>
              <a:rPr lang="pl-PL" kern="0" dirty="0">
                <a:sym typeface="Arial"/>
              </a:rPr>
              <a:t>i</a:t>
            </a:r>
            <a:r>
              <a:rPr lang="pl-PL" kern="0" dirty="0">
                <a:solidFill>
                  <a:schemeClr val="accent4">
                    <a:lumMod val="75000"/>
                  </a:schemeClr>
                </a:solidFill>
                <a:sym typeface="Arial"/>
              </a:rPr>
              <a:t> </a:t>
            </a:r>
            <a:r>
              <a:rPr lang="pl-PL" kern="0" dirty="0">
                <a:sym typeface="Arial"/>
              </a:rPr>
              <a:t>rozwiązuj problemy z dostępem do aplikacji</a:t>
            </a:r>
            <a:r>
              <a:rPr lang="en-US" sz="2200" kern="0" dirty="0">
                <a:sym typeface="Arial"/>
              </a:rPr>
              <a:t>.</a:t>
            </a:r>
          </a:p>
          <a:p>
            <a:pPr algn="r" defTabSz="1219170">
              <a:buClr>
                <a:srgbClr val="000000"/>
              </a:buClr>
              <a:defRPr/>
            </a:pPr>
            <a:endParaRPr lang="pl-PL" sz="2000" kern="0" dirty="0">
              <a:cs typeface="Arial"/>
              <a:sym typeface="Arial"/>
            </a:endParaRPr>
          </a:p>
          <a:p>
            <a:pPr algn="r" defTabSz="1219170">
              <a:buClr>
                <a:srgbClr val="000000"/>
              </a:buClr>
              <a:defRPr/>
            </a:pPr>
            <a:r>
              <a:rPr lang="pl-PL" sz="2000" kern="0" dirty="0">
                <a:cs typeface="Arial"/>
                <a:sym typeface="Arial"/>
              </a:rPr>
              <a:t> </a:t>
            </a:r>
            <a:r>
              <a:rPr lang="pl-PL" sz="1400" kern="0" dirty="0">
                <a:cs typeface="Arial"/>
                <a:sym typeface="Arial"/>
              </a:rPr>
              <a:t>Śledzenie wydajności każdej sesji</a:t>
            </a:r>
            <a:r>
              <a:rPr lang="en-US" sz="1400" kern="0" dirty="0">
                <a:cs typeface="Arial"/>
                <a:sym typeface="Arial"/>
              </a:rPr>
              <a:t>, </a:t>
            </a:r>
            <a:r>
              <a:rPr lang="pl-PL" sz="1400" kern="0" dirty="0">
                <a:cs typeface="Arial"/>
                <a:sym typeface="Arial"/>
              </a:rPr>
              <a:t>redukcja czasu potrzebnego do pomyślnego rozwiązania problemu</a:t>
            </a:r>
            <a:endParaRPr lang="en-US" sz="1400" kern="0" dirty="0">
              <a:latin typeface="MetricHPE" panose="020B0303030202060203" pitchFamily="34" charset="77"/>
              <a:cs typeface="Arial"/>
              <a:sym typeface="Arial"/>
            </a:endParaRPr>
          </a:p>
        </p:txBody>
      </p:sp>
      <p:cxnSp>
        <p:nvCxnSpPr>
          <p:cNvPr id="11" name="Straight Connector 10">
            <a:extLst>
              <a:ext uri="{FF2B5EF4-FFF2-40B4-BE49-F238E27FC236}">
                <a16:creationId xmlns:a16="http://schemas.microsoft.com/office/drawing/2014/main" id="{B004CE2B-4DD0-DDFA-3934-32FBFCED587D}"/>
              </a:ext>
            </a:extLst>
          </p:cNvPr>
          <p:cNvCxnSpPr>
            <a:cxnSpLocks/>
          </p:cNvCxnSpPr>
          <p:nvPr/>
        </p:nvCxnSpPr>
        <p:spPr>
          <a:xfrm>
            <a:off x="405353" y="3643635"/>
            <a:ext cx="443906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8E85D6-866D-AE29-875B-6A3E9A56E211}"/>
              </a:ext>
            </a:extLst>
          </p:cNvPr>
          <p:cNvCxnSpPr>
            <a:cxnSpLocks/>
          </p:cNvCxnSpPr>
          <p:nvPr/>
        </p:nvCxnSpPr>
        <p:spPr>
          <a:xfrm>
            <a:off x="7384613" y="3643635"/>
            <a:ext cx="443906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8C77A0C6-090F-23ED-7DF3-97AF5E386A8A}"/>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99913" y="1372719"/>
            <a:ext cx="251782" cy="251782"/>
          </a:xfrm>
          <a:prstGeom prst="rect">
            <a:avLst/>
          </a:prstGeom>
        </p:spPr>
      </p:pic>
      <p:pic>
        <p:nvPicPr>
          <p:cNvPr id="14" name="Graphic 13">
            <a:extLst>
              <a:ext uri="{FF2B5EF4-FFF2-40B4-BE49-F238E27FC236}">
                <a16:creationId xmlns:a16="http://schemas.microsoft.com/office/drawing/2014/main" id="{7A68A219-B3F1-78A0-9359-95A38F74A2AE}"/>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72102" y="2163945"/>
            <a:ext cx="283567" cy="280786"/>
          </a:xfrm>
          <a:prstGeom prst="rect">
            <a:avLst/>
          </a:prstGeom>
        </p:spPr>
      </p:pic>
      <p:pic>
        <p:nvPicPr>
          <p:cNvPr id="15" name="Graphic 14">
            <a:extLst>
              <a:ext uri="{FF2B5EF4-FFF2-40B4-BE49-F238E27FC236}">
                <a16:creationId xmlns:a16="http://schemas.microsoft.com/office/drawing/2014/main" id="{1B10A50C-544C-9DF4-A722-F70352681DC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57717" y="2163945"/>
            <a:ext cx="295461" cy="295461"/>
          </a:xfrm>
          <a:prstGeom prst="rect">
            <a:avLst/>
          </a:prstGeom>
        </p:spPr>
      </p:pic>
      <p:pic>
        <p:nvPicPr>
          <p:cNvPr id="16" name="Graphic 15">
            <a:extLst>
              <a:ext uri="{FF2B5EF4-FFF2-40B4-BE49-F238E27FC236}">
                <a16:creationId xmlns:a16="http://schemas.microsoft.com/office/drawing/2014/main" id="{E729B7FB-62FF-AF40-2B34-1944F0BD1B2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58932" y="1385082"/>
            <a:ext cx="252553" cy="252553"/>
          </a:xfrm>
          <a:prstGeom prst="rect">
            <a:avLst/>
          </a:prstGeom>
        </p:spPr>
      </p:pic>
      <p:grpSp>
        <p:nvGrpSpPr>
          <p:cNvPr id="17" name="Group 16">
            <a:extLst>
              <a:ext uri="{FF2B5EF4-FFF2-40B4-BE49-F238E27FC236}">
                <a16:creationId xmlns:a16="http://schemas.microsoft.com/office/drawing/2014/main" id="{E585E39B-6383-216D-7ECD-AB4BF360100E}"/>
              </a:ext>
            </a:extLst>
          </p:cNvPr>
          <p:cNvGrpSpPr/>
          <p:nvPr/>
        </p:nvGrpSpPr>
        <p:grpSpPr>
          <a:xfrm>
            <a:off x="5296405" y="2945938"/>
            <a:ext cx="1692000" cy="1692000"/>
            <a:chOff x="5188691" y="2945938"/>
            <a:chExt cx="1692000" cy="1692000"/>
          </a:xfrm>
        </p:grpSpPr>
        <p:grpSp>
          <p:nvGrpSpPr>
            <p:cNvPr id="18" name="Group 17">
              <a:extLst>
                <a:ext uri="{FF2B5EF4-FFF2-40B4-BE49-F238E27FC236}">
                  <a16:creationId xmlns:a16="http://schemas.microsoft.com/office/drawing/2014/main" id="{FEBB6C16-2D41-4F61-846F-14137A259766}"/>
                </a:ext>
              </a:extLst>
            </p:cNvPr>
            <p:cNvGrpSpPr/>
            <p:nvPr/>
          </p:nvGrpSpPr>
          <p:grpSpPr>
            <a:xfrm>
              <a:off x="5249301" y="3009736"/>
              <a:ext cx="1567064" cy="1567585"/>
              <a:chOff x="5313099" y="2977837"/>
              <a:chExt cx="1567064" cy="1567585"/>
            </a:xfrm>
          </p:grpSpPr>
          <p:grpSp>
            <p:nvGrpSpPr>
              <p:cNvPr id="20" name="Group 19">
                <a:extLst>
                  <a:ext uri="{FF2B5EF4-FFF2-40B4-BE49-F238E27FC236}">
                    <a16:creationId xmlns:a16="http://schemas.microsoft.com/office/drawing/2014/main" id="{95FADF32-0013-963F-481B-13EB6302F89F}"/>
                  </a:ext>
                </a:extLst>
              </p:cNvPr>
              <p:cNvGrpSpPr/>
              <p:nvPr/>
            </p:nvGrpSpPr>
            <p:grpSpPr>
              <a:xfrm>
                <a:off x="5313099" y="2977837"/>
                <a:ext cx="1567064" cy="1567585"/>
                <a:chOff x="5515120" y="1861415"/>
                <a:chExt cx="1567064" cy="1567585"/>
              </a:xfrm>
            </p:grpSpPr>
            <p:sp>
              <p:nvSpPr>
                <p:cNvPr id="23" name="Rounded Rectangle 68">
                  <a:extLst>
                    <a:ext uri="{FF2B5EF4-FFF2-40B4-BE49-F238E27FC236}">
                      <a16:creationId xmlns:a16="http://schemas.microsoft.com/office/drawing/2014/main" id="{6A1C60F2-22D5-4361-BDDA-D3116677B79B}"/>
                    </a:ext>
                  </a:extLst>
                </p:cNvPr>
                <p:cNvSpPr>
                  <a:spLocks noChangeAspect="1"/>
                </p:cNvSpPr>
                <p:nvPr/>
              </p:nvSpPr>
              <p:spPr>
                <a:xfrm>
                  <a:off x="5515120" y="1861415"/>
                  <a:ext cx="1567064" cy="1567585"/>
                </a:xfrm>
                <a:prstGeom prst="roundRect">
                  <a:avLst>
                    <a:gd name="adj" fmla="val 50000"/>
                  </a:avLst>
                </a:prstGeom>
                <a:solidFill>
                  <a:schemeClr val="tx2">
                    <a:lumMod val="40000"/>
                    <a:lumOff val="60000"/>
                  </a:schemeClr>
                </a:solidFill>
                <a:ln w="25400" cap="flat" cmpd="sng" algn="ctr">
                  <a:noFill/>
                  <a:prstDash val="solid"/>
                </a:ln>
                <a:effectLst>
                  <a:innerShdw blurRad="254000" dist="37907" dir="12720000">
                    <a:srgbClr val="F3F5F6">
                      <a:alpha val="25000"/>
                    </a:srgbClr>
                  </a:innerShdw>
                </a:effectLst>
              </p:spPr>
              <p:txBody>
                <a:bodyPr rtlCol="0" anchor="ctr"/>
                <a:lstStyle/>
                <a:p>
                  <a:pPr algn="ctr" defTabSz="914377" rtl="1">
                    <a:defRPr/>
                  </a:pPr>
                  <a:endParaRPr lang="en-US" sz="1400" kern="0" dirty="0">
                    <a:solidFill>
                      <a:srgbClr val="FFFFFF"/>
                    </a:solidFill>
                  </a:endParaRPr>
                </a:p>
              </p:txBody>
            </p:sp>
            <p:pic>
              <p:nvPicPr>
                <p:cNvPr id="24" name="Graphic 23">
                  <a:extLst>
                    <a:ext uri="{FF2B5EF4-FFF2-40B4-BE49-F238E27FC236}">
                      <a16:creationId xmlns:a16="http://schemas.microsoft.com/office/drawing/2014/main" id="{B8156BE2-CF6E-B08C-A9D2-502FFC6031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35260" y="2189914"/>
                  <a:ext cx="1297313" cy="910587"/>
                </a:xfrm>
                <a:prstGeom prst="rect">
                  <a:avLst/>
                </a:prstGeom>
              </p:spPr>
            </p:pic>
          </p:grpSp>
          <p:pic>
            <p:nvPicPr>
              <p:cNvPr id="21" name="Graphic 20">
                <a:extLst>
                  <a:ext uri="{FF2B5EF4-FFF2-40B4-BE49-F238E27FC236}">
                    <a16:creationId xmlns:a16="http://schemas.microsoft.com/office/drawing/2014/main" id="{CE67032E-F63B-4C81-FD51-8D1AD4A7922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049939" y="3502749"/>
                <a:ext cx="248812" cy="216000"/>
              </a:xfrm>
              <a:prstGeom prst="rect">
                <a:avLst/>
              </a:prstGeom>
            </p:spPr>
          </p:pic>
          <p:sp>
            <p:nvSpPr>
              <p:cNvPr id="22" name="TextBox 21">
                <a:extLst>
                  <a:ext uri="{FF2B5EF4-FFF2-40B4-BE49-F238E27FC236}">
                    <a16:creationId xmlns:a16="http://schemas.microsoft.com/office/drawing/2014/main" id="{1D941BFA-2A71-9841-6692-92DD4F3C7F5E}"/>
                  </a:ext>
                </a:extLst>
              </p:cNvPr>
              <p:cNvSpPr txBox="1"/>
              <p:nvPr/>
            </p:nvSpPr>
            <p:spPr>
              <a:xfrm>
                <a:off x="5337542" y="3845780"/>
                <a:ext cx="1480837" cy="318711"/>
              </a:xfrm>
              <a:prstGeom prst="rect">
                <a:avLst/>
              </a:prstGeom>
              <a:noFill/>
              <a:ln w="57150">
                <a:no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050" dirty="0"/>
                  <a:t>HPE Aruba Networking SSE</a:t>
                </a:r>
              </a:p>
            </p:txBody>
          </p:sp>
        </p:grpSp>
        <p:sp>
          <p:nvSpPr>
            <p:cNvPr id="19" name="Oval 18">
              <a:extLst>
                <a:ext uri="{FF2B5EF4-FFF2-40B4-BE49-F238E27FC236}">
                  <a16:creationId xmlns:a16="http://schemas.microsoft.com/office/drawing/2014/main" id="{E7082C7B-B8FF-104F-2DDF-3A5A61BF3B53}"/>
                </a:ext>
              </a:extLst>
            </p:cNvPr>
            <p:cNvSpPr/>
            <p:nvPr/>
          </p:nvSpPr>
          <p:spPr bwMode="ltGray">
            <a:xfrm>
              <a:off x="5188691" y="2945938"/>
              <a:ext cx="1692000" cy="1692000"/>
            </a:xfrm>
            <a:prstGeom prst="ellipse">
              <a:avLst/>
            </a:prstGeom>
            <a:noFill/>
            <a:ln w="190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solidFill>
                  <a:schemeClr val="tx1"/>
                </a:solidFill>
              </a:endParaRPr>
            </a:p>
          </p:txBody>
        </p:sp>
      </p:grpSp>
      <p:cxnSp>
        <p:nvCxnSpPr>
          <p:cNvPr id="25" name="Connector: Curved 24">
            <a:extLst>
              <a:ext uri="{FF2B5EF4-FFF2-40B4-BE49-F238E27FC236}">
                <a16:creationId xmlns:a16="http://schemas.microsoft.com/office/drawing/2014/main" id="{F8554B26-635F-F657-DD36-E86930436D2E}"/>
              </a:ext>
            </a:extLst>
          </p:cNvPr>
          <p:cNvCxnSpPr>
            <a:stCxn id="16" idx="3"/>
            <a:endCxn id="19" idx="0"/>
          </p:cNvCxnSpPr>
          <p:nvPr/>
        </p:nvCxnSpPr>
        <p:spPr>
          <a:xfrm>
            <a:off x="5611485" y="1511359"/>
            <a:ext cx="530920" cy="1434579"/>
          </a:xfrm>
          <a:prstGeom prst="curvedConnector2">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6" name="Connector: Curved 25">
            <a:extLst>
              <a:ext uri="{FF2B5EF4-FFF2-40B4-BE49-F238E27FC236}">
                <a16:creationId xmlns:a16="http://schemas.microsoft.com/office/drawing/2014/main" id="{85188006-E287-CEFB-1448-DC32F383DC4C}"/>
              </a:ext>
            </a:extLst>
          </p:cNvPr>
          <p:cNvCxnSpPr>
            <a:cxnSpLocks/>
            <a:stCxn id="13" idx="1"/>
            <a:endCxn id="19" idx="0"/>
          </p:cNvCxnSpPr>
          <p:nvPr/>
        </p:nvCxnSpPr>
        <p:spPr>
          <a:xfrm rot="10800000" flipV="1">
            <a:off x="6142405" y="1498610"/>
            <a:ext cx="357508" cy="1447328"/>
          </a:xfrm>
          <a:prstGeom prst="curvedConnector2">
            <a:avLst/>
          </a:pr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7" name="Connector: Curved 26">
            <a:extLst>
              <a:ext uri="{FF2B5EF4-FFF2-40B4-BE49-F238E27FC236}">
                <a16:creationId xmlns:a16="http://schemas.microsoft.com/office/drawing/2014/main" id="{7C346D84-7582-E44E-47FB-6EBB2A1174D8}"/>
              </a:ext>
            </a:extLst>
          </p:cNvPr>
          <p:cNvCxnSpPr>
            <a:cxnSpLocks/>
            <a:stCxn id="15" idx="1"/>
          </p:cNvCxnSpPr>
          <p:nvPr/>
        </p:nvCxnSpPr>
        <p:spPr>
          <a:xfrm rot="10800000" flipV="1">
            <a:off x="6499913" y="2311675"/>
            <a:ext cx="157804" cy="698059"/>
          </a:xfrm>
          <a:prstGeom prst="curvedConnector2">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8" name="Connector: Curved 27">
            <a:extLst>
              <a:ext uri="{FF2B5EF4-FFF2-40B4-BE49-F238E27FC236}">
                <a16:creationId xmlns:a16="http://schemas.microsoft.com/office/drawing/2014/main" id="{29A089B1-C0A7-0C03-3A7B-C0D81A8FE438}"/>
              </a:ext>
            </a:extLst>
          </p:cNvPr>
          <p:cNvCxnSpPr>
            <a:cxnSpLocks/>
            <a:stCxn id="14" idx="3"/>
          </p:cNvCxnSpPr>
          <p:nvPr/>
        </p:nvCxnSpPr>
        <p:spPr>
          <a:xfrm>
            <a:off x="5655669" y="2304338"/>
            <a:ext cx="157267" cy="705398"/>
          </a:xfrm>
          <a:prstGeom prst="curvedConnector2">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7A5FDBB0-661C-3586-0BFB-4679C259E885}"/>
              </a:ext>
            </a:extLst>
          </p:cNvPr>
          <p:cNvCxnSpPr>
            <a:cxnSpLocks/>
            <a:stCxn id="19" idx="4"/>
            <a:endCxn id="51" idx="0"/>
          </p:cNvCxnSpPr>
          <p:nvPr/>
        </p:nvCxnSpPr>
        <p:spPr>
          <a:xfrm rot="5400000">
            <a:off x="5025521" y="4760904"/>
            <a:ext cx="1239850" cy="993919"/>
          </a:xfrm>
          <a:prstGeom prst="curvedConnector3">
            <a:avLst>
              <a:gd name="adj1" fmla="val 50000"/>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0" name="Connector: Curved 29">
            <a:extLst>
              <a:ext uri="{FF2B5EF4-FFF2-40B4-BE49-F238E27FC236}">
                <a16:creationId xmlns:a16="http://schemas.microsoft.com/office/drawing/2014/main" id="{665EF71B-5494-2D3D-C4DA-513F851B35DE}"/>
              </a:ext>
            </a:extLst>
          </p:cNvPr>
          <p:cNvCxnSpPr>
            <a:cxnSpLocks/>
            <a:stCxn id="23" idx="2"/>
            <a:endCxn id="49" idx="0"/>
          </p:cNvCxnSpPr>
          <p:nvPr/>
        </p:nvCxnSpPr>
        <p:spPr>
          <a:xfrm rot="5400000">
            <a:off x="5322313" y="5059553"/>
            <a:ext cx="1300467" cy="336002"/>
          </a:xfrm>
          <a:prstGeom prst="curvedConnector3">
            <a:avLst>
              <a:gd name="adj1" fmla="val 50000"/>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 name="Connector: Curved 30">
            <a:extLst>
              <a:ext uri="{FF2B5EF4-FFF2-40B4-BE49-F238E27FC236}">
                <a16:creationId xmlns:a16="http://schemas.microsoft.com/office/drawing/2014/main" id="{743CF983-4FD0-F256-28AD-81681711E25D}"/>
              </a:ext>
            </a:extLst>
          </p:cNvPr>
          <p:cNvCxnSpPr>
            <a:cxnSpLocks/>
            <a:stCxn id="19" idx="4"/>
            <a:endCxn id="47" idx="0"/>
          </p:cNvCxnSpPr>
          <p:nvPr/>
        </p:nvCxnSpPr>
        <p:spPr>
          <a:xfrm rot="16200000" flipH="1">
            <a:off x="5697641" y="5082701"/>
            <a:ext cx="1239850" cy="350323"/>
          </a:xfrm>
          <a:prstGeom prst="curvedConnector3">
            <a:avLst>
              <a:gd name="adj1" fmla="val 50000"/>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2" name="Connector: Curved 31">
            <a:extLst>
              <a:ext uri="{FF2B5EF4-FFF2-40B4-BE49-F238E27FC236}">
                <a16:creationId xmlns:a16="http://schemas.microsoft.com/office/drawing/2014/main" id="{FCDFF581-D980-E7A3-E20A-68452B402177}"/>
              </a:ext>
            </a:extLst>
          </p:cNvPr>
          <p:cNvCxnSpPr>
            <a:cxnSpLocks/>
            <a:stCxn id="19" idx="4"/>
            <a:endCxn id="53" idx="0"/>
          </p:cNvCxnSpPr>
          <p:nvPr/>
        </p:nvCxnSpPr>
        <p:spPr>
          <a:xfrm rot="16200000" flipH="1">
            <a:off x="6043147" y="4737196"/>
            <a:ext cx="1239850" cy="1041334"/>
          </a:xfrm>
          <a:prstGeom prst="curvedConnector3">
            <a:avLst>
              <a:gd name="adj1" fmla="val 50000"/>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9F9BB0D7-6F3E-45F8-0BD2-3A51B4F4B7C4}"/>
              </a:ext>
            </a:extLst>
          </p:cNvPr>
          <p:cNvSpPr/>
          <p:nvPr/>
        </p:nvSpPr>
        <p:spPr bwMode="ltGray">
          <a:xfrm>
            <a:off x="5963651" y="4594704"/>
            <a:ext cx="357508" cy="125891"/>
          </a:xfrm>
          <a:prstGeom prst="roundRect">
            <a:avLst/>
          </a:prstGeom>
          <a:solidFill>
            <a:schemeClr val="accent5"/>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schemeClr val="tx1"/>
              </a:solidFill>
            </a:endParaRPr>
          </a:p>
        </p:txBody>
      </p:sp>
      <p:sp>
        <p:nvSpPr>
          <p:cNvPr id="34" name="TextBox 33">
            <a:extLst>
              <a:ext uri="{FF2B5EF4-FFF2-40B4-BE49-F238E27FC236}">
                <a16:creationId xmlns:a16="http://schemas.microsoft.com/office/drawing/2014/main" id="{35051450-7624-9E92-EB6F-4A7EAD4C83BE}"/>
              </a:ext>
            </a:extLst>
          </p:cNvPr>
          <p:cNvSpPr txBox="1"/>
          <p:nvPr/>
        </p:nvSpPr>
        <p:spPr>
          <a:xfrm>
            <a:off x="5866542" y="4559348"/>
            <a:ext cx="548014" cy="189580"/>
          </a:xfrm>
          <a:prstGeom prst="rect">
            <a:avLst/>
          </a:prstGeom>
          <a:noFill/>
          <a:ln w="57150">
            <a:no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100" dirty="0"/>
              <a:t>DEM</a:t>
            </a:r>
          </a:p>
        </p:txBody>
      </p:sp>
      <p:sp>
        <p:nvSpPr>
          <p:cNvPr id="35" name="Rectangle: Rounded Corners 34">
            <a:extLst>
              <a:ext uri="{FF2B5EF4-FFF2-40B4-BE49-F238E27FC236}">
                <a16:creationId xmlns:a16="http://schemas.microsoft.com/office/drawing/2014/main" id="{1B67626B-5CD3-4747-CCAA-D8E83D77AFB9}"/>
              </a:ext>
            </a:extLst>
          </p:cNvPr>
          <p:cNvSpPr/>
          <p:nvPr/>
        </p:nvSpPr>
        <p:spPr bwMode="ltGray">
          <a:xfrm>
            <a:off x="5986460" y="2531181"/>
            <a:ext cx="307817" cy="135057"/>
          </a:xfrm>
          <a:prstGeom prst="roundRect">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schemeClr val="tx1"/>
              </a:solidFill>
            </a:endParaRPr>
          </a:p>
        </p:txBody>
      </p:sp>
      <p:sp>
        <p:nvSpPr>
          <p:cNvPr id="36" name="Rectangle: Rounded Corners 35">
            <a:extLst>
              <a:ext uri="{FF2B5EF4-FFF2-40B4-BE49-F238E27FC236}">
                <a16:creationId xmlns:a16="http://schemas.microsoft.com/office/drawing/2014/main" id="{E0B07D83-675D-376E-6297-1A4C72C9E014}"/>
              </a:ext>
            </a:extLst>
          </p:cNvPr>
          <p:cNvSpPr/>
          <p:nvPr/>
        </p:nvSpPr>
        <p:spPr bwMode="ltGray">
          <a:xfrm>
            <a:off x="5645008" y="2740684"/>
            <a:ext cx="307817" cy="135057"/>
          </a:xfrm>
          <a:prstGeom prst="roundRect">
            <a:avLst/>
          </a:prstGeom>
          <a:solidFill>
            <a:schemeClr val="accent4"/>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schemeClr val="tx1"/>
              </a:solidFill>
            </a:endParaRPr>
          </a:p>
        </p:txBody>
      </p:sp>
      <p:sp>
        <p:nvSpPr>
          <p:cNvPr id="37" name="Rectangle: Rounded Corners 36">
            <a:extLst>
              <a:ext uri="{FF2B5EF4-FFF2-40B4-BE49-F238E27FC236}">
                <a16:creationId xmlns:a16="http://schemas.microsoft.com/office/drawing/2014/main" id="{2A28419A-4C5B-3368-41D7-E5576F8B988A}"/>
              </a:ext>
            </a:extLst>
          </p:cNvPr>
          <p:cNvSpPr/>
          <p:nvPr/>
        </p:nvSpPr>
        <p:spPr bwMode="ltGray">
          <a:xfrm>
            <a:off x="6363416" y="2750264"/>
            <a:ext cx="307817" cy="135057"/>
          </a:xfrm>
          <a:prstGeom prst="roundRect">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000" dirty="0">
              <a:solidFill>
                <a:schemeClr val="tx1"/>
              </a:solidFill>
            </a:endParaRPr>
          </a:p>
        </p:txBody>
      </p:sp>
      <p:sp>
        <p:nvSpPr>
          <p:cNvPr id="38" name="TextBox 37">
            <a:extLst>
              <a:ext uri="{FF2B5EF4-FFF2-40B4-BE49-F238E27FC236}">
                <a16:creationId xmlns:a16="http://schemas.microsoft.com/office/drawing/2014/main" id="{19895FD7-EDA0-3B16-3AEC-62C74D9349DD}"/>
              </a:ext>
            </a:extLst>
          </p:cNvPr>
          <p:cNvSpPr txBox="1"/>
          <p:nvPr/>
        </p:nvSpPr>
        <p:spPr>
          <a:xfrm>
            <a:off x="5519322" y="2713262"/>
            <a:ext cx="548014" cy="180244"/>
          </a:xfrm>
          <a:prstGeom prst="rect">
            <a:avLst/>
          </a:prstGeom>
          <a:noFill/>
          <a:ln w="57150">
            <a:no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100" dirty="0">
                <a:solidFill>
                  <a:schemeClr val="bg1"/>
                </a:solidFill>
              </a:rPr>
              <a:t>SWG</a:t>
            </a:r>
          </a:p>
        </p:txBody>
      </p:sp>
      <p:sp>
        <p:nvSpPr>
          <p:cNvPr id="39" name="TextBox 38">
            <a:extLst>
              <a:ext uri="{FF2B5EF4-FFF2-40B4-BE49-F238E27FC236}">
                <a16:creationId xmlns:a16="http://schemas.microsoft.com/office/drawing/2014/main" id="{72F4D5CB-2B15-6025-1DF8-857DCC616E72}"/>
              </a:ext>
            </a:extLst>
          </p:cNvPr>
          <p:cNvSpPr txBox="1"/>
          <p:nvPr/>
        </p:nvSpPr>
        <p:spPr>
          <a:xfrm>
            <a:off x="6233890" y="2723612"/>
            <a:ext cx="548014" cy="189580"/>
          </a:xfrm>
          <a:prstGeom prst="rect">
            <a:avLst/>
          </a:prstGeom>
          <a:noFill/>
          <a:ln w="57150">
            <a:no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100" dirty="0">
                <a:solidFill>
                  <a:schemeClr val="accent1">
                    <a:lumMod val="50000"/>
                  </a:schemeClr>
                </a:solidFill>
              </a:rPr>
              <a:t>CASB</a:t>
            </a:r>
          </a:p>
        </p:txBody>
      </p:sp>
      <p:sp>
        <p:nvSpPr>
          <p:cNvPr id="40" name="TextBox 39">
            <a:extLst>
              <a:ext uri="{FF2B5EF4-FFF2-40B4-BE49-F238E27FC236}">
                <a16:creationId xmlns:a16="http://schemas.microsoft.com/office/drawing/2014/main" id="{5EB2B8D2-287B-29EA-7F04-AFE09187A564}"/>
              </a:ext>
            </a:extLst>
          </p:cNvPr>
          <p:cNvSpPr txBox="1"/>
          <p:nvPr/>
        </p:nvSpPr>
        <p:spPr>
          <a:xfrm>
            <a:off x="5866723" y="2507309"/>
            <a:ext cx="548014" cy="189580"/>
          </a:xfrm>
          <a:prstGeom prst="rect">
            <a:avLst/>
          </a:prstGeom>
          <a:noFill/>
          <a:ln w="57150">
            <a:no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100" dirty="0">
                <a:solidFill>
                  <a:schemeClr val="bg1"/>
                </a:solidFill>
              </a:rPr>
              <a:t>ZTNA</a:t>
            </a:r>
          </a:p>
        </p:txBody>
      </p:sp>
      <p:grpSp>
        <p:nvGrpSpPr>
          <p:cNvPr id="41" name="Group 40">
            <a:extLst>
              <a:ext uri="{FF2B5EF4-FFF2-40B4-BE49-F238E27FC236}">
                <a16:creationId xmlns:a16="http://schemas.microsoft.com/office/drawing/2014/main" id="{4594E79D-4DDA-CAC5-455B-6F44EA1FECF2}"/>
              </a:ext>
            </a:extLst>
          </p:cNvPr>
          <p:cNvGrpSpPr/>
          <p:nvPr/>
        </p:nvGrpSpPr>
        <p:grpSpPr>
          <a:xfrm>
            <a:off x="4878486" y="5861588"/>
            <a:ext cx="2575253" cy="540000"/>
            <a:chOff x="4878486" y="5861588"/>
            <a:chExt cx="2575253" cy="540000"/>
          </a:xfrm>
        </p:grpSpPr>
        <p:grpSp>
          <p:nvGrpSpPr>
            <p:cNvPr id="42" name="Group 41">
              <a:extLst>
                <a:ext uri="{FF2B5EF4-FFF2-40B4-BE49-F238E27FC236}">
                  <a16:creationId xmlns:a16="http://schemas.microsoft.com/office/drawing/2014/main" id="{BFE66FF2-7341-B32A-F8F4-4BC7DA587E23}"/>
                </a:ext>
              </a:extLst>
            </p:cNvPr>
            <p:cNvGrpSpPr>
              <a:grpSpLocks noChangeAspect="1"/>
            </p:cNvGrpSpPr>
            <p:nvPr/>
          </p:nvGrpSpPr>
          <p:grpSpPr>
            <a:xfrm>
              <a:off x="6913739" y="5861588"/>
              <a:ext cx="540000" cy="540000"/>
              <a:chOff x="1592495" y="2034283"/>
              <a:chExt cx="1800000" cy="1800000"/>
            </a:xfrm>
          </p:grpSpPr>
          <p:sp>
            <p:nvSpPr>
              <p:cNvPr id="52" name="Oval 51">
                <a:extLst>
                  <a:ext uri="{FF2B5EF4-FFF2-40B4-BE49-F238E27FC236}">
                    <a16:creationId xmlns:a16="http://schemas.microsoft.com/office/drawing/2014/main" id="{DB0859CC-FA83-DA3D-E54B-C13016D828C7}"/>
                  </a:ext>
                </a:extLst>
              </p:cNvPr>
              <p:cNvSpPr/>
              <p:nvPr/>
            </p:nvSpPr>
            <p:spPr bwMode="ltGray">
              <a:xfrm>
                <a:off x="1592495" y="2034283"/>
                <a:ext cx="1800000" cy="1800000"/>
              </a:xfrm>
              <a:prstGeom prst="ellipse">
                <a:avLst/>
              </a:prstGeom>
              <a:solidFill>
                <a:srgbClr val="32DAC8"/>
              </a:solidFill>
              <a:ln w="571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solidFill>
                    <a:schemeClr val="tx1"/>
                  </a:solidFill>
                </a:endParaRPr>
              </a:p>
            </p:txBody>
          </p:sp>
          <p:pic>
            <p:nvPicPr>
              <p:cNvPr id="53" name="Picture 52">
                <a:extLst>
                  <a:ext uri="{FF2B5EF4-FFF2-40B4-BE49-F238E27FC236}">
                    <a16:creationId xmlns:a16="http://schemas.microsoft.com/office/drawing/2014/main" id="{81FB80BD-5DCA-FB64-D306-88689B6F4A27}"/>
                  </a:ext>
                </a:extLst>
              </p:cNvPr>
              <p:cNvPicPr>
                <a:picLocks/>
              </p:cNvPicPr>
              <p:nvPr/>
            </p:nvPicPr>
            <p:blipFill rotWithShape="1">
              <a:blip r:embed="rId14" cstate="print">
                <a:extLst>
                  <a:ext uri="{28A0092B-C50C-407E-A947-70E740481C1C}">
                    <a14:useLocalDpi xmlns:a14="http://schemas.microsoft.com/office/drawing/2010/main" val="0"/>
                  </a:ext>
                </a:extLst>
              </a:blip>
              <a:srcRect l="53264" t="4085" r="5360" b="22359"/>
              <a:stretch/>
            </p:blipFill>
            <p:spPr>
              <a:xfrm>
                <a:off x="1646495" y="2088283"/>
                <a:ext cx="1692000" cy="1692000"/>
              </a:xfrm>
              <a:prstGeom prst="flowChartConnector">
                <a:avLst/>
              </a:prstGeom>
            </p:spPr>
          </p:pic>
        </p:grpSp>
        <p:grpSp>
          <p:nvGrpSpPr>
            <p:cNvPr id="43" name="Group 42">
              <a:extLst>
                <a:ext uri="{FF2B5EF4-FFF2-40B4-BE49-F238E27FC236}">
                  <a16:creationId xmlns:a16="http://schemas.microsoft.com/office/drawing/2014/main" id="{2810C547-4B82-C86D-C5EA-958540B8F7E5}"/>
                </a:ext>
              </a:extLst>
            </p:cNvPr>
            <p:cNvGrpSpPr>
              <a:grpSpLocks noChangeAspect="1"/>
            </p:cNvGrpSpPr>
            <p:nvPr/>
          </p:nvGrpSpPr>
          <p:grpSpPr>
            <a:xfrm>
              <a:off x="4878486" y="5861588"/>
              <a:ext cx="540000" cy="540000"/>
              <a:chOff x="1592495" y="2034283"/>
              <a:chExt cx="1800000" cy="1800000"/>
            </a:xfrm>
          </p:grpSpPr>
          <p:sp>
            <p:nvSpPr>
              <p:cNvPr id="50" name="Oval 49">
                <a:extLst>
                  <a:ext uri="{FF2B5EF4-FFF2-40B4-BE49-F238E27FC236}">
                    <a16:creationId xmlns:a16="http://schemas.microsoft.com/office/drawing/2014/main" id="{3397CE8E-1B87-907D-67FF-BF3BB973E291}"/>
                  </a:ext>
                </a:extLst>
              </p:cNvPr>
              <p:cNvSpPr/>
              <p:nvPr/>
            </p:nvSpPr>
            <p:spPr bwMode="ltGray">
              <a:xfrm>
                <a:off x="1592495" y="2034283"/>
                <a:ext cx="1800000" cy="1800000"/>
              </a:xfrm>
              <a:prstGeom prst="ellipse">
                <a:avLst/>
              </a:prstGeom>
              <a:solidFill>
                <a:schemeClr val="accent4"/>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solidFill>
                    <a:schemeClr val="tx1"/>
                  </a:solidFill>
                </a:endParaRPr>
              </a:p>
            </p:txBody>
          </p:sp>
          <p:pic>
            <p:nvPicPr>
              <p:cNvPr id="51" name="Picture 50">
                <a:extLst>
                  <a:ext uri="{FF2B5EF4-FFF2-40B4-BE49-F238E27FC236}">
                    <a16:creationId xmlns:a16="http://schemas.microsoft.com/office/drawing/2014/main" id="{7D642879-63CA-3290-2661-AA5417B008B6}"/>
                  </a:ext>
                </a:extLst>
              </p:cNvPr>
              <p:cNvPicPr>
                <a:picLocks/>
              </p:cNvPicPr>
              <p:nvPr/>
            </p:nvPicPr>
            <p:blipFill rotWithShape="1">
              <a:blip r:embed="rId15" cstate="print">
                <a:extLst>
                  <a:ext uri="{28A0092B-C50C-407E-A947-70E740481C1C}">
                    <a14:useLocalDpi xmlns:a14="http://schemas.microsoft.com/office/drawing/2010/main" val="0"/>
                  </a:ext>
                </a:extLst>
              </a:blip>
              <a:srcRect l="11031" t="8313" r="50841" b="23902"/>
              <a:stretch/>
            </p:blipFill>
            <p:spPr>
              <a:xfrm>
                <a:off x="1646495" y="2088283"/>
                <a:ext cx="1692000" cy="1692000"/>
              </a:xfrm>
              <a:prstGeom prst="flowChartConnector">
                <a:avLst/>
              </a:prstGeom>
            </p:spPr>
          </p:pic>
        </p:grpSp>
        <p:grpSp>
          <p:nvGrpSpPr>
            <p:cNvPr id="44" name="Group 43">
              <a:extLst>
                <a:ext uri="{FF2B5EF4-FFF2-40B4-BE49-F238E27FC236}">
                  <a16:creationId xmlns:a16="http://schemas.microsoft.com/office/drawing/2014/main" id="{ACC2D9B5-DA73-3810-E94D-3CE86BB6AA63}"/>
                </a:ext>
              </a:extLst>
            </p:cNvPr>
            <p:cNvGrpSpPr>
              <a:grpSpLocks noChangeAspect="1"/>
            </p:cNvGrpSpPr>
            <p:nvPr/>
          </p:nvGrpSpPr>
          <p:grpSpPr>
            <a:xfrm>
              <a:off x="5531717" y="5861588"/>
              <a:ext cx="540000" cy="540000"/>
              <a:chOff x="1592495" y="2034283"/>
              <a:chExt cx="1800000" cy="1800000"/>
            </a:xfrm>
          </p:grpSpPr>
          <p:sp>
            <p:nvSpPr>
              <p:cNvPr id="48" name="Oval 47">
                <a:extLst>
                  <a:ext uri="{FF2B5EF4-FFF2-40B4-BE49-F238E27FC236}">
                    <a16:creationId xmlns:a16="http://schemas.microsoft.com/office/drawing/2014/main" id="{6C3BEE3C-2891-9E47-209B-23887A49A2AD}"/>
                  </a:ext>
                </a:extLst>
              </p:cNvPr>
              <p:cNvSpPr/>
              <p:nvPr/>
            </p:nvSpPr>
            <p:spPr bwMode="ltGray">
              <a:xfrm>
                <a:off x="1592495" y="2034283"/>
                <a:ext cx="1800000" cy="1800000"/>
              </a:xfrm>
              <a:prstGeom prst="ellipse">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solidFill>
                    <a:schemeClr val="tx1"/>
                  </a:solidFill>
                </a:endParaRPr>
              </a:p>
            </p:txBody>
          </p:sp>
          <p:pic>
            <p:nvPicPr>
              <p:cNvPr id="49" name="Picture 48">
                <a:extLst>
                  <a:ext uri="{FF2B5EF4-FFF2-40B4-BE49-F238E27FC236}">
                    <a16:creationId xmlns:a16="http://schemas.microsoft.com/office/drawing/2014/main" id="{423E3438-2CB9-D5ED-D37D-52EC043EED85}"/>
                  </a:ext>
                </a:extLst>
              </p:cNvPr>
              <p:cNvPicPr>
                <a:picLocks/>
              </p:cNvPicPr>
              <p:nvPr/>
            </p:nvPicPr>
            <p:blipFill rotWithShape="1">
              <a:blip r:embed="rId16" cstate="print">
                <a:extLst>
                  <a:ext uri="{28A0092B-C50C-407E-A947-70E740481C1C}">
                    <a14:useLocalDpi xmlns:a14="http://schemas.microsoft.com/office/drawing/2010/main" val="0"/>
                  </a:ext>
                </a:extLst>
              </a:blip>
              <a:srcRect l="56462" t="319" r="8590" b="37548"/>
              <a:stretch/>
            </p:blipFill>
            <p:spPr>
              <a:xfrm>
                <a:off x="1655922" y="2088283"/>
                <a:ext cx="1692000" cy="1692000"/>
              </a:xfrm>
              <a:prstGeom prst="flowChartConnector">
                <a:avLst/>
              </a:prstGeom>
            </p:spPr>
          </p:pic>
        </p:grpSp>
        <p:grpSp>
          <p:nvGrpSpPr>
            <p:cNvPr id="45" name="Group 44">
              <a:extLst>
                <a:ext uri="{FF2B5EF4-FFF2-40B4-BE49-F238E27FC236}">
                  <a16:creationId xmlns:a16="http://schemas.microsoft.com/office/drawing/2014/main" id="{E6391886-04B2-4FAC-A62C-D665D801EDEB}"/>
                </a:ext>
              </a:extLst>
            </p:cNvPr>
            <p:cNvGrpSpPr>
              <a:grpSpLocks noChangeAspect="1"/>
            </p:cNvGrpSpPr>
            <p:nvPr/>
          </p:nvGrpSpPr>
          <p:grpSpPr>
            <a:xfrm>
              <a:off x="6222728" y="5861588"/>
              <a:ext cx="540000" cy="540000"/>
              <a:chOff x="1592495" y="2034283"/>
              <a:chExt cx="1800000" cy="1800000"/>
            </a:xfrm>
          </p:grpSpPr>
          <p:sp>
            <p:nvSpPr>
              <p:cNvPr id="46" name="Oval 45">
                <a:extLst>
                  <a:ext uri="{FF2B5EF4-FFF2-40B4-BE49-F238E27FC236}">
                    <a16:creationId xmlns:a16="http://schemas.microsoft.com/office/drawing/2014/main" id="{8760CD8F-6450-6277-5E62-45B7C6B4C7E1}"/>
                  </a:ext>
                </a:extLst>
              </p:cNvPr>
              <p:cNvSpPr/>
              <p:nvPr/>
            </p:nvSpPr>
            <p:spPr bwMode="ltGray">
              <a:xfrm>
                <a:off x="1592495" y="2034283"/>
                <a:ext cx="1800000" cy="1800000"/>
              </a:xfrm>
              <a:prstGeom prst="ellipse">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solidFill>
                    <a:schemeClr val="tx1"/>
                  </a:solidFill>
                </a:endParaRPr>
              </a:p>
            </p:txBody>
          </p:sp>
          <p:pic>
            <p:nvPicPr>
              <p:cNvPr id="47" name="Picture 46">
                <a:extLst>
                  <a:ext uri="{FF2B5EF4-FFF2-40B4-BE49-F238E27FC236}">
                    <a16:creationId xmlns:a16="http://schemas.microsoft.com/office/drawing/2014/main" id="{F745A3FB-5C02-1645-6CE5-2570FFC3C801}"/>
                  </a:ext>
                </a:extLst>
              </p:cNvPr>
              <p:cNvPicPr>
                <a:picLocks/>
              </p:cNvPicPr>
              <p:nvPr/>
            </p:nvPicPr>
            <p:blipFill rotWithShape="1">
              <a:blip r:embed="rId17" cstate="print">
                <a:extLst>
                  <a:ext uri="{28A0092B-C50C-407E-A947-70E740481C1C}">
                    <a14:useLocalDpi xmlns:a14="http://schemas.microsoft.com/office/drawing/2010/main" val="0"/>
                  </a:ext>
                </a:extLst>
              </a:blip>
              <a:srcRect l="56650" t="-279" r="12742" b="45865"/>
              <a:stretch/>
            </p:blipFill>
            <p:spPr>
              <a:xfrm>
                <a:off x="1646495" y="2088283"/>
                <a:ext cx="1692000" cy="1692000"/>
              </a:xfrm>
              <a:prstGeom prst="flowChartConnector">
                <a:avLst/>
              </a:prstGeom>
            </p:spPr>
          </p:pic>
        </p:grpSp>
      </p:grpSp>
    </p:spTree>
    <p:extLst>
      <p:ext uri="{BB962C8B-B14F-4D97-AF65-F5344CB8AC3E}">
        <p14:creationId xmlns:p14="http://schemas.microsoft.com/office/powerpoint/2010/main" val="289099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4680D3-44A3-632E-DFD8-05E233D1988A}"/>
              </a:ext>
            </a:extLst>
          </p:cNvPr>
          <p:cNvSpPr>
            <a:spLocks noGrp="1"/>
          </p:cNvSpPr>
          <p:nvPr>
            <p:ph type="title"/>
          </p:nvPr>
        </p:nvSpPr>
        <p:spPr/>
        <p:txBody>
          <a:bodyPr/>
          <a:lstStyle/>
          <a:p>
            <a:r>
              <a:rPr lang="en-GB" dirty="0"/>
              <a:t>DYREKTYWA PARLAMENTU EUROPEJSKIEGO I RADY (UE) 2022/2555</a:t>
            </a:r>
            <a:endParaRPr lang="en-PL" dirty="0"/>
          </a:p>
        </p:txBody>
      </p:sp>
      <p:pic>
        <p:nvPicPr>
          <p:cNvPr id="6" name="Picture 5" descr="A close up of a text&#10;&#10;Description automatically generated">
            <a:extLst>
              <a:ext uri="{FF2B5EF4-FFF2-40B4-BE49-F238E27FC236}">
                <a16:creationId xmlns:a16="http://schemas.microsoft.com/office/drawing/2014/main" id="{506D4865-FDBC-205C-CEF2-7043D27659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742" y="1161408"/>
            <a:ext cx="10981347" cy="2361909"/>
          </a:xfrm>
          <a:prstGeom prst="rect">
            <a:avLst/>
          </a:prstGeom>
        </p:spPr>
      </p:pic>
      <p:pic>
        <p:nvPicPr>
          <p:cNvPr id="8" name="Picture 7" descr="A close-up of a text&#10;&#10;Description automatically generated">
            <a:extLst>
              <a:ext uri="{FF2B5EF4-FFF2-40B4-BE49-F238E27FC236}">
                <a16:creationId xmlns:a16="http://schemas.microsoft.com/office/drawing/2014/main" id="{199D6778-DD51-CFA2-A61C-C3E74739F6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689" y="3080339"/>
            <a:ext cx="10615451" cy="3171309"/>
          </a:xfrm>
          <a:prstGeom prst="rect">
            <a:avLst/>
          </a:prstGeom>
        </p:spPr>
      </p:pic>
      <p:sp>
        <p:nvSpPr>
          <p:cNvPr id="9" name="Rounded Rectangle 8">
            <a:extLst>
              <a:ext uri="{FF2B5EF4-FFF2-40B4-BE49-F238E27FC236}">
                <a16:creationId xmlns:a16="http://schemas.microsoft.com/office/drawing/2014/main" id="{80809D83-5186-4A95-9DD1-68052E91C258}"/>
              </a:ext>
            </a:extLst>
          </p:cNvPr>
          <p:cNvSpPr/>
          <p:nvPr/>
        </p:nvSpPr>
        <p:spPr bwMode="ltGray">
          <a:xfrm>
            <a:off x="1986454" y="1587063"/>
            <a:ext cx="8234505" cy="210206"/>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14" name="Rounded Rectangle 13">
            <a:extLst>
              <a:ext uri="{FF2B5EF4-FFF2-40B4-BE49-F238E27FC236}">
                <a16:creationId xmlns:a16="http://schemas.microsoft.com/office/drawing/2014/main" id="{8D2AC6A3-3A6F-B506-6BB0-66D49CAF9CC3}"/>
              </a:ext>
            </a:extLst>
          </p:cNvPr>
          <p:cNvSpPr/>
          <p:nvPr/>
        </p:nvSpPr>
        <p:spPr bwMode="ltGray">
          <a:xfrm>
            <a:off x="4640316" y="2791139"/>
            <a:ext cx="5165835" cy="210207"/>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20" name="Rounded Rectangle 19">
            <a:extLst>
              <a:ext uri="{FF2B5EF4-FFF2-40B4-BE49-F238E27FC236}">
                <a16:creationId xmlns:a16="http://schemas.microsoft.com/office/drawing/2014/main" id="{73A55F11-59C3-25F1-49FF-6DFEE0DBF4F6}"/>
              </a:ext>
            </a:extLst>
          </p:cNvPr>
          <p:cNvSpPr/>
          <p:nvPr/>
        </p:nvSpPr>
        <p:spPr bwMode="ltGray">
          <a:xfrm>
            <a:off x="5612522" y="3352606"/>
            <a:ext cx="2017987" cy="249704"/>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55" name="Rounded Rectangle 54">
            <a:extLst>
              <a:ext uri="{FF2B5EF4-FFF2-40B4-BE49-F238E27FC236}">
                <a16:creationId xmlns:a16="http://schemas.microsoft.com/office/drawing/2014/main" id="{43B880CA-2622-C678-EA3F-784E4AD4BE3A}"/>
              </a:ext>
            </a:extLst>
          </p:cNvPr>
          <p:cNvSpPr/>
          <p:nvPr/>
        </p:nvSpPr>
        <p:spPr bwMode="ltGray">
          <a:xfrm>
            <a:off x="1107859" y="3843867"/>
            <a:ext cx="6774899" cy="249704"/>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56" name="Rounded Rectangle 55">
            <a:extLst>
              <a:ext uri="{FF2B5EF4-FFF2-40B4-BE49-F238E27FC236}">
                <a16:creationId xmlns:a16="http://schemas.microsoft.com/office/drawing/2014/main" id="{87044705-C69C-94BE-EC80-DEA9100FB982}"/>
              </a:ext>
            </a:extLst>
          </p:cNvPr>
          <p:cNvSpPr/>
          <p:nvPr/>
        </p:nvSpPr>
        <p:spPr bwMode="ltGray">
          <a:xfrm>
            <a:off x="8684172" y="3602310"/>
            <a:ext cx="2166708" cy="241557"/>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58" name="Rounded Rectangle 57">
            <a:extLst>
              <a:ext uri="{FF2B5EF4-FFF2-40B4-BE49-F238E27FC236}">
                <a16:creationId xmlns:a16="http://schemas.microsoft.com/office/drawing/2014/main" id="{A0B707A3-7F15-B105-9830-1518CF112C71}"/>
              </a:ext>
            </a:extLst>
          </p:cNvPr>
          <p:cNvSpPr/>
          <p:nvPr/>
        </p:nvSpPr>
        <p:spPr bwMode="ltGray">
          <a:xfrm>
            <a:off x="1183815" y="1818623"/>
            <a:ext cx="2616026" cy="210206"/>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59" name="Rounded Rectangle 58">
            <a:extLst>
              <a:ext uri="{FF2B5EF4-FFF2-40B4-BE49-F238E27FC236}">
                <a16:creationId xmlns:a16="http://schemas.microsoft.com/office/drawing/2014/main" id="{BDE8D18B-DB08-3594-BAD7-AB18EB2A3408}"/>
              </a:ext>
            </a:extLst>
          </p:cNvPr>
          <p:cNvSpPr/>
          <p:nvPr/>
        </p:nvSpPr>
        <p:spPr bwMode="ltGray">
          <a:xfrm>
            <a:off x="10307495" y="1587063"/>
            <a:ext cx="543385" cy="231560"/>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60" name="Rounded Rectangle 59">
            <a:extLst>
              <a:ext uri="{FF2B5EF4-FFF2-40B4-BE49-F238E27FC236}">
                <a16:creationId xmlns:a16="http://schemas.microsoft.com/office/drawing/2014/main" id="{7EAFF268-6572-93F6-5A39-1C0D6A38ACE2}"/>
              </a:ext>
            </a:extLst>
          </p:cNvPr>
          <p:cNvSpPr/>
          <p:nvPr/>
        </p:nvSpPr>
        <p:spPr bwMode="ltGray">
          <a:xfrm>
            <a:off x="5542716" y="2532440"/>
            <a:ext cx="3377764" cy="179706"/>
          </a:xfrm>
          <a:prstGeom prst="roundRect">
            <a:avLst/>
          </a:prstGeom>
          <a:solidFill>
            <a:schemeClr val="accent5">
              <a:alpha val="4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
        <p:nvSpPr>
          <p:cNvPr id="64" name="TextBox 63">
            <a:extLst>
              <a:ext uri="{FF2B5EF4-FFF2-40B4-BE49-F238E27FC236}">
                <a16:creationId xmlns:a16="http://schemas.microsoft.com/office/drawing/2014/main" id="{D6442BF5-037F-C9C9-CD86-9A26FFCE45AF}"/>
              </a:ext>
            </a:extLst>
          </p:cNvPr>
          <p:cNvSpPr txBox="1"/>
          <p:nvPr/>
        </p:nvSpPr>
        <p:spPr>
          <a:xfrm>
            <a:off x="3045848" y="6195866"/>
            <a:ext cx="6774899" cy="430887"/>
          </a:xfrm>
          <a:prstGeom prst="rect">
            <a:avLst/>
          </a:prstGeom>
          <a:noFill/>
          <a:ln w="57150">
            <a:noFill/>
            <a:miter lim="800000"/>
          </a:ln>
        </p:spPr>
        <p:txBody>
          <a:bodyPr wrap="square">
            <a:spAutoFit/>
          </a:bodyPr>
          <a:lstStyle/>
          <a:p>
            <a:r>
              <a:rPr lang="en-US" sz="2200" dirty="0">
                <a:solidFill>
                  <a:schemeClr val="accent5"/>
                </a:solidFill>
              </a:rPr>
              <a:t>NIS</a:t>
            </a:r>
            <a:r>
              <a:rPr lang="en-US" sz="2200" dirty="0"/>
              <a:t> - </a:t>
            </a:r>
            <a:r>
              <a:rPr lang="en-US" sz="2200" dirty="0">
                <a:solidFill>
                  <a:schemeClr val="accent5"/>
                </a:solidFill>
              </a:rPr>
              <a:t>S</a:t>
            </a:r>
            <a:r>
              <a:rPr lang="en-US" sz="2200" dirty="0"/>
              <a:t>ecurity for </a:t>
            </a:r>
            <a:r>
              <a:rPr lang="en-US" sz="2200" dirty="0">
                <a:solidFill>
                  <a:schemeClr val="accent5"/>
                </a:solidFill>
              </a:rPr>
              <a:t>N</a:t>
            </a:r>
            <a:r>
              <a:rPr lang="en-US" sz="2200" dirty="0"/>
              <a:t>etwork and </a:t>
            </a:r>
            <a:r>
              <a:rPr lang="en-US" sz="2200" dirty="0">
                <a:solidFill>
                  <a:schemeClr val="accent5"/>
                </a:solidFill>
              </a:rPr>
              <a:t>I</a:t>
            </a:r>
            <a:r>
              <a:rPr lang="en-US" sz="2200" dirty="0"/>
              <a:t>nformation Systems</a:t>
            </a:r>
            <a:endParaRPr lang="en-PL" sz="2200" dirty="0"/>
          </a:p>
        </p:txBody>
      </p:sp>
      <p:sp>
        <p:nvSpPr>
          <p:cNvPr id="5" name="Slide Number Placeholder 1">
            <a:extLst>
              <a:ext uri="{FF2B5EF4-FFF2-40B4-BE49-F238E27FC236}">
                <a16:creationId xmlns:a16="http://schemas.microsoft.com/office/drawing/2014/main" id="{49BB4B70-902D-9E33-C5F4-89FC3F38F3EB}"/>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2</a:t>
            </a:fld>
            <a:endParaRPr lang="en-US" dirty="0"/>
          </a:p>
        </p:txBody>
      </p:sp>
    </p:spTree>
    <p:extLst>
      <p:ext uri="{BB962C8B-B14F-4D97-AF65-F5344CB8AC3E}">
        <p14:creationId xmlns:p14="http://schemas.microsoft.com/office/powerpoint/2010/main" val="150830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screenshot of a computer&#10;&#10;Description automatically generated with medium confidence">
            <a:extLst>
              <a:ext uri="{FF2B5EF4-FFF2-40B4-BE49-F238E27FC236}">
                <a16:creationId xmlns:a16="http://schemas.microsoft.com/office/drawing/2014/main" id="{92B27D0C-42D1-7AB5-35BF-4D89AAE0769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0010"/>
          <a:stretch/>
        </p:blipFill>
        <p:spPr>
          <a:xfrm>
            <a:off x="4105393" y="-1"/>
            <a:ext cx="8086607" cy="6858001"/>
          </a:xfrm>
          <a:prstGeom prst="rect">
            <a:avLst/>
          </a:prstGeom>
        </p:spPr>
      </p:pic>
      <p:sp>
        <p:nvSpPr>
          <p:cNvPr id="7" name="Title 6">
            <a:extLst>
              <a:ext uri="{FF2B5EF4-FFF2-40B4-BE49-F238E27FC236}">
                <a16:creationId xmlns:a16="http://schemas.microsoft.com/office/drawing/2014/main" id="{B9D7D418-93CA-4DC9-9C34-4EE5D095A6CA}"/>
              </a:ext>
            </a:extLst>
          </p:cNvPr>
          <p:cNvSpPr>
            <a:spLocks noGrp="1"/>
          </p:cNvSpPr>
          <p:nvPr>
            <p:ph type="title"/>
          </p:nvPr>
        </p:nvSpPr>
        <p:spPr>
          <a:xfrm>
            <a:off x="289123" y="745067"/>
            <a:ext cx="2521810" cy="1540933"/>
          </a:xfrm>
        </p:spPr>
        <p:txBody>
          <a:bodyPr/>
          <a:lstStyle/>
          <a:p>
            <a:r>
              <a:rPr lang="pl-PL" dirty="0"/>
              <a:t>Wgląd w rozwiązanie </a:t>
            </a:r>
            <a:r>
              <a:rPr lang="en-US" dirty="0"/>
              <a:t>HPE Aruba Networking</a:t>
            </a:r>
            <a:r>
              <a:rPr lang="pl-PL" dirty="0"/>
              <a:t> </a:t>
            </a:r>
            <a:r>
              <a:rPr lang="en-US" dirty="0"/>
              <a:t>SSE</a:t>
            </a:r>
          </a:p>
        </p:txBody>
      </p:sp>
      <p:cxnSp>
        <p:nvCxnSpPr>
          <p:cNvPr id="22" name="Google Shape;492;p10">
            <a:extLst>
              <a:ext uri="{FF2B5EF4-FFF2-40B4-BE49-F238E27FC236}">
                <a16:creationId xmlns:a16="http://schemas.microsoft.com/office/drawing/2014/main" id="{91705791-99AB-578D-F21D-54AD1C268FF8}"/>
              </a:ext>
            </a:extLst>
          </p:cNvPr>
          <p:cNvCxnSpPr>
            <a:cxnSpLocks/>
            <a:endCxn id="23" idx="3"/>
          </p:cNvCxnSpPr>
          <p:nvPr/>
        </p:nvCxnSpPr>
        <p:spPr>
          <a:xfrm flipH="1">
            <a:off x="4400735" y="1767398"/>
            <a:ext cx="3574364" cy="0"/>
          </a:xfrm>
          <a:prstGeom prst="straightConnector1">
            <a:avLst/>
          </a:prstGeom>
          <a:noFill/>
          <a:ln w="31750" cap="flat" cmpd="sng">
            <a:solidFill>
              <a:srgbClr val="32DAC8"/>
            </a:solidFill>
            <a:prstDash val="solid"/>
            <a:bevel/>
            <a:headEnd type="none" w="sm" len="sm"/>
            <a:tailEnd type="none" w="sm" len="sm"/>
          </a:ln>
        </p:spPr>
      </p:cxnSp>
      <p:sp>
        <p:nvSpPr>
          <p:cNvPr id="23" name="Rounded Rectangle 22">
            <a:extLst>
              <a:ext uri="{FF2B5EF4-FFF2-40B4-BE49-F238E27FC236}">
                <a16:creationId xmlns:a16="http://schemas.microsoft.com/office/drawing/2014/main" id="{D9685EFE-89E9-810A-0D2B-B40360214519}"/>
              </a:ext>
            </a:extLst>
          </p:cNvPr>
          <p:cNvSpPr/>
          <p:nvPr/>
        </p:nvSpPr>
        <p:spPr bwMode="ltGray">
          <a:xfrm>
            <a:off x="3044142" y="1466456"/>
            <a:ext cx="1356593" cy="601884"/>
          </a:xfrm>
          <a:prstGeom prst="roundRect">
            <a:avLst/>
          </a:prstGeom>
          <a:solidFill>
            <a:schemeClr val="bg1">
              <a:alpha val="65000"/>
            </a:schemeClr>
          </a:solid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pl-PL" sz="1200" b="1" dirty="0">
                <a:solidFill>
                  <a:schemeClr val="tx1"/>
                </a:solidFill>
              </a:rPr>
              <a:t>Zablokuj dostęp </a:t>
            </a:r>
            <a:br>
              <a:rPr lang="pl-PL" sz="1200" b="1" dirty="0">
                <a:solidFill>
                  <a:schemeClr val="tx1"/>
                </a:solidFill>
              </a:rPr>
            </a:br>
            <a:r>
              <a:rPr lang="pl-PL" sz="1200" dirty="0">
                <a:solidFill>
                  <a:schemeClr val="tx1"/>
                </a:solidFill>
              </a:rPr>
              <a:t>z ryzykownych destynacji</a:t>
            </a:r>
            <a:endParaRPr lang="en-US" sz="1200" dirty="0">
              <a:solidFill>
                <a:schemeClr val="tx1"/>
              </a:solidFill>
            </a:endParaRPr>
          </a:p>
        </p:txBody>
      </p:sp>
      <p:sp>
        <p:nvSpPr>
          <p:cNvPr id="24" name="Rounded Rectangle 23">
            <a:extLst>
              <a:ext uri="{FF2B5EF4-FFF2-40B4-BE49-F238E27FC236}">
                <a16:creationId xmlns:a16="http://schemas.microsoft.com/office/drawing/2014/main" id="{23C3E113-B241-5C7B-B7B9-9E0F04A434A5}"/>
              </a:ext>
            </a:extLst>
          </p:cNvPr>
          <p:cNvSpPr/>
          <p:nvPr/>
        </p:nvSpPr>
        <p:spPr bwMode="ltGray">
          <a:xfrm>
            <a:off x="7993659" y="1504708"/>
            <a:ext cx="1057744" cy="545071"/>
          </a:xfrm>
          <a:prstGeom prst="roundRect">
            <a:avLst/>
          </a:prstGeom>
          <a:no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400">
              <a:solidFill>
                <a:schemeClr val="tx1"/>
              </a:solidFill>
            </a:endParaRPr>
          </a:p>
        </p:txBody>
      </p:sp>
      <p:sp>
        <p:nvSpPr>
          <p:cNvPr id="25" name="Rounded Rectangle 24">
            <a:extLst>
              <a:ext uri="{FF2B5EF4-FFF2-40B4-BE49-F238E27FC236}">
                <a16:creationId xmlns:a16="http://schemas.microsoft.com/office/drawing/2014/main" id="{5983391E-0E54-52C4-BD41-20925BD2D87E}"/>
              </a:ext>
            </a:extLst>
          </p:cNvPr>
          <p:cNvSpPr/>
          <p:nvPr/>
        </p:nvSpPr>
        <p:spPr bwMode="ltGray">
          <a:xfrm>
            <a:off x="9035006" y="2073932"/>
            <a:ext cx="992914" cy="1827508"/>
          </a:xfrm>
          <a:prstGeom prst="roundRect">
            <a:avLst>
              <a:gd name="adj" fmla="val 10904"/>
            </a:avLst>
          </a:prstGeom>
          <a:no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400">
              <a:solidFill>
                <a:schemeClr val="tx1"/>
              </a:solidFill>
            </a:endParaRPr>
          </a:p>
        </p:txBody>
      </p:sp>
      <p:sp>
        <p:nvSpPr>
          <p:cNvPr id="26" name="Rounded Rectangle 25">
            <a:extLst>
              <a:ext uri="{FF2B5EF4-FFF2-40B4-BE49-F238E27FC236}">
                <a16:creationId xmlns:a16="http://schemas.microsoft.com/office/drawing/2014/main" id="{9DFA8F12-B196-5FC2-FEAF-54C67EE44A8B}"/>
              </a:ext>
            </a:extLst>
          </p:cNvPr>
          <p:cNvSpPr/>
          <p:nvPr/>
        </p:nvSpPr>
        <p:spPr bwMode="ltGray">
          <a:xfrm>
            <a:off x="8006537" y="5564075"/>
            <a:ext cx="1057744" cy="482005"/>
          </a:xfrm>
          <a:prstGeom prst="roundRect">
            <a:avLst/>
          </a:prstGeom>
          <a:no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400">
              <a:solidFill>
                <a:schemeClr val="tx1"/>
              </a:solidFill>
            </a:endParaRPr>
          </a:p>
        </p:txBody>
      </p:sp>
      <p:sp>
        <p:nvSpPr>
          <p:cNvPr id="27" name="Rounded Rectangle 26">
            <a:extLst>
              <a:ext uri="{FF2B5EF4-FFF2-40B4-BE49-F238E27FC236}">
                <a16:creationId xmlns:a16="http://schemas.microsoft.com/office/drawing/2014/main" id="{1E7AC0A6-534E-8D74-D3A6-D70DDAA7B4FD}"/>
              </a:ext>
            </a:extLst>
          </p:cNvPr>
          <p:cNvSpPr/>
          <p:nvPr/>
        </p:nvSpPr>
        <p:spPr bwMode="ltGray">
          <a:xfrm>
            <a:off x="9064281" y="6072791"/>
            <a:ext cx="826694" cy="276493"/>
          </a:xfrm>
          <a:prstGeom prst="roundRect">
            <a:avLst/>
          </a:prstGeom>
          <a:no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400">
              <a:solidFill>
                <a:schemeClr val="tx1"/>
              </a:solidFill>
            </a:endParaRPr>
          </a:p>
        </p:txBody>
      </p:sp>
      <p:cxnSp>
        <p:nvCxnSpPr>
          <p:cNvPr id="29" name="Google Shape;492;p10">
            <a:extLst>
              <a:ext uri="{FF2B5EF4-FFF2-40B4-BE49-F238E27FC236}">
                <a16:creationId xmlns:a16="http://schemas.microsoft.com/office/drawing/2014/main" id="{5D3E2789-F0F8-E84F-E713-D6372D2E77D1}"/>
              </a:ext>
            </a:extLst>
          </p:cNvPr>
          <p:cNvCxnSpPr>
            <a:cxnSpLocks/>
            <a:endCxn id="11" idx="3"/>
          </p:cNvCxnSpPr>
          <p:nvPr/>
        </p:nvCxnSpPr>
        <p:spPr>
          <a:xfrm flipH="1">
            <a:off x="4084097" y="4332123"/>
            <a:ext cx="3011008" cy="0"/>
          </a:xfrm>
          <a:prstGeom prst="straightConnector1">
            <a:avLst/>
          </a:prstGeom>
          <a:noFill/>
          <a:ln w="31750" cap="flat" cmpd="sng">
            <a:solidFill>
              <a:srgbClr val="32DAC8"/>
            </a:solidFill>
            <a:prstDash val="solid"/>
            <a:bevel/>
            <a:headEnd type="none" w="sm" len="sm"/>
            <a:tailEnd type="none" w="sm" len="sm"/>
          </a:ln>
        </p:spPr>
      </p:cxnSp>
      <p:sp>
        <p:nvSpPr>
          <p:cNvPr id="30" name="Rounded Rectangle 29">
            <a:extLst>
              <a:ext uri="{FF2B5EF4-FFF2-40B4-BE49-F238E27FC236}">
                <a16:creationId xmlns:a16="http://schemas.microsoft.com/office/drawing/2014/main" id="{565EA243-B468-82B0-D880-FE845FD3FA4C}"/>
              </a:ext>
            </a:extLst>
          </p:cNvPr>
          <p:cNvSpPr/>
          <p:nvPr/>
        </p:nvSpPr>
        <p:spPr bwMode="ltGray">
          <a:xfrm>
            <a:off x="4185187" y="2204975"/>
            <a:ext cx="1275455" cy="1224021"/>
          </a:xfrm>
          <a:prstGeom prst="roundRect">
            <a:avLst>
              <a:gd name="adj" fmla="val 9935"/>
            </a:avLst>
          </a:prstGeom>
          <a:solidFill>
            <a:schemeClr val="bg1">
              <a:alpha val="65000"/>
            </a:schemeClr>
          </a:solid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377">
              <a:lnSpc>
                <a:spcPct val="110000"/>
              </a:lnSpc>
            </a:pPr>
            <a:r>
              <a:rPr lang="pl-PL" sz="1200" b="1" dirty="0">
                <a:solidFill>
                  <a:schemeClr val="tx1"/>
                </a:solidFill>
                <a:sym typeface="Avenir"/>
              </a:rPr>
              <a:t>Zdefiniuj dostęp </a:t>
            </a:r>
            <a:r>
              <a:rPr lang="pl-PL" sz="1200" dirty="0">
                <a:solidFill>
                  <a:schemeClr val="tx1"/>
                </a:solidFill>
                <a:sym typeface="Avenir"/>
              </a:rPr>
              <a:t>do wewnętrzych i zewnętrznych aplikacji z wykorzystaniem </a:t>
            </a:r>
            <a:r>
              <a:rPr lang="pl-PL" sz="1200" b="1" dirty="0">
                <a:solidFill>
                  <a:schemeClr val="tx1"/>
                </a:solidFill>
                <a:sym typeface="Avenir"/>
              </a:rPr>
              <a:t>jednej polityki</a:t>
            </a:r>
            <a:endParaRPr lang="en-US" sz="1200" b="1" dirty="0">
              <a:solidFill>
                <a:schemeClr val="tx1"/>
              </a:solidFill>
            </a:endParaRPr>
          </a:p>
        </p:txBody>
      </p:sp>
      <p:sp>
        <p:nvSpPr>
          <p:cNvPr id="31" name="Rounded Rectangle 30">
            <a:extLst>
              <a:ext uri="{FF2B5EF4-FFF2-40B4-BE49-F238E27FC236}">
                <a16:creationId xmlns:a16="http://schemas.microsoft.com/office/drawing/2014/main" id="{C254817D-C1E9-0ED8-1B42-C139DEA072CC}"/>
              </a:ext>
            </a:extLst>
          </p:cNvPr>
          <p:cNvSpPr/>
          <p:nvPr/>
        </p:nvSpPr>
        <p:spPr bwMode="ltGray">
          <a:xfrm>
            <a:off x="289123" y="5371000"/>
            <a:ext cx="2312187" cy="978284"/>
          </a:xfrm>
          <a:prstGeom prst="roundRect">
            <a:avLst/>
          </a:prstGeom>
          <a:solidFill>
            <a:schemeClr val="bg1">
              <a:alpha val="65106"/>
            </a:schemeClr>
          </a:solid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377">
              <a:lnSpc>
                <a:spcPct val="110000"/>
              </a:lnSpc>
            </a:pPr>
            <a:r>
              <a:rPr lang="pl-PL" sz="1200" b="1" dirty="0">
                <a:solidFill>
                  <a:schemeClr val="tx1"/>
                </a:solidFill>
                <a:sym typeface="Avenir"/>
              </a:rPr>
              <a:t>Badaj</a:t>
            </a:r>
            <a:r>
              <a:rPr lang="pl-PL" sz="1200" dirty="0">
                <a:solidFill>
                  <a:schemeClr val="tx1"/>
                </a:solidFill>
                <a:sym typeface="Avenir"/>
              </a:rPr>
              <a:t> </a:t>
            </a:r>
            <a:r>
              <a:rPr lang="pl-PL" sz="1200" b="1" dirty="0">
                <a:solidFill>
                  <a:schemeClr val="tx1"/>
                </a:solidFill>
                <a:sym typeface="Avenir"/>
              </a:rPr>
              <a:t>zdrowie stacji końcowej </a:t>
            </a:r>
            <a:r>
              <a:rPr lang="pl-PL" sz="1200" dirty="0">
                <a:solidFill>
                  <a:schemeClr val="tx1"/>
                </a:solidFill>
                <a:sym typeface="Avenir"/>
              </a:rPr>
              <a:t>z ciągłą analizą jej stanu </a:t>
            </a:r>
            <a:endParaRPr lang="en-US" sz="1200" dirty="0">
              <a:solidFill>
                <a:schemeClr val="tx1"/>
              </a:solidFill>
            </a:endParaRPr>
          </a:p>
        </p:txBody>
      </p:sp>
      <p:sp>
        <p:nvSpPr>
          <p:cNvPr id="32" name="Rounded Rectangle 31">
            <a:extLst>
              <a:ext uri="{FF2B5EF4-FFF2-40B4-BE49-F238E27FC236}">
                <a16:creationId xmlns:a16="http://schemas.microsoft.com/office/drawing/2014/main" id="{1DD565BA-4D11-E438-B75C-35D68809936E}"/>
              </a:ext>
            </a:extLst>
          </p:cNvPr>
          <p:cNvSpPr/>
          <p:nvPr/>
        </p:nvSpPr>
        <p:spPr bwMode="ltGray">
          <a:xfrm>
            <a:off x="2735675" y="5949288"/>
            <a:ext cx="1973525" cy="639528"/>
          </a:xfrm>
          <a:prstGeom prst="roundRect">
            <a:avLst/>
          </a:prstGeom>
          <a:solidFill>
            <a:schemeClr val="bg1">
              <a:alpha val="65000"/>
            </a:schemeClr>
          </a:solid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defTabSz="914377">
              <a:lnSpc>
                <a:spcPct val="110000"/>
              </a:lnSpc>
              <a:defRPr/>
            </a:pPr>
            <a:r>
              <a:rPr lang="pl-PL" sz="1200" kern="0" dirty="0">
                <a:solidFill>
                  <a:schemeClr val="tx1"/>
                </a:solidFill>
                <a:sym typeface="Avenir"/>
              </a:rPr>
              <a:t>Wykorzystaj możliwosć otagowania aplikacji dla </a:t>
            </a:r>
            <a:r>
              <a:rPr lang="pl-PL" sz="1200" b="1" kern="0" dirty="0">
                <a:solidFill>
                  <a:schemeClr val="tx1"/>
                </a:solidFill>
                <a:sym typeface="Avenir"/>
              </a:rPr>
              <a:t>uproszczenia zarządzania</a:t>
            </a:r>
            <a:endParaRPr lang="en-US" sz="1200" b="1" kern="0" dirty="0">
              <a:solidFill>
                <a:schemeClr val="tx1"/>
              </a:solidFill>
            </a:endParaRPr>
          </a:p>
        </p:txBody>
      </p:sp>
      <p:cxnSp>
        <p:nvCxnSpPr>
          <p:cNvPr id="33" name="Google Shape;492;p10">
            <a:extLst>
              <a:ext uri="{FF2B5EF4-FFF2-40B4-BE49-F238E27FC236}">
                <a16:creationId xmlns:a16="http://schemas.microsoft.com/office/drawing/2014/main" id="{642F7E52-0B95-58A1-CA98-DE2D5E4FA34A}"/>
              </a:ext>
            </a:extLst>
          </p:cNvPr>
          <p:cNvCxnSpPr>
            <a:cxnSpLocks/>
            <a:endCxn id="31" idx="3"/>
          </p:cNvCxnSpPr>
          <p:nvPr/>
        </p:nvCxnSpPr>
        <p:spPr>
          <a:xfrm flipH="1">
            <a:off x="2601310" y="5860142"/>
            <a:ext cx="5373789" cy="0"/>
          </a:xfrm>
          <a:prstGeom prst="straightConnector1">
            <a:avLst/>
          </a:prstGeom>
          <a:noFill/>
          <a:ln w="31750" cap="flat" cmpd="sng">
            <a:solidFill>
              <a:srgbClr val="32DAC8"/>
            </a:solidFill>
            <a:prstDash val="solid"/>
            <a:bevel/>
            <a:headEnd type="none" w="sm" len="sm"/>
            <a:tailEnd type="none" w="sm" len="sm"/>
          </a:ln>
        </p:spPr>
      </p:cxnSp>
      <p:cxnSp>
        <p:nvCxnSpPr>
          <p:cNvPr id="36" name="Google Shape;492;p10">
            <a:extLst>
              <a:ext uri="{FF2B5EF4-FFF2-40B4-BE49-F238E27FC236}">
                <a16:creationId xmlns:a16="http://schemas.microsoft.com/office/drawing/2014/main" id="{2D56886C-F5AB-2EC2-1A5D-72CCCA7C5056}"/>
              </a:ext>
            </a:extLst>
          </p:cNvPr>
          <p:cNvCxnSpPr>
            <a:cxnSpLocks/>
          </p:cNvCxnSpPr>
          <p:nvPr/>
        </p:nvCxnSpPr>
        <p:spPr>
          <a:xfrm flipH="1">
            <a:off x="4709200" y="6211037"/>
            <a:ext cx="4355081" cy="0"/>
          </a:xfrm>
          <a:prstGeom prst="straightConnector1">
            <a:avLst/>
          </a:prstGeom>
          <a:noFill/>
          <a:ln w="31750" cap="flat" cmpd="sng">
            <a:solidFill>
              <a:srgbClr val="32DAC8"/>
            </a:solidFill>
            <a:prstDash val="solid"/>
            <a:bevel/>
            <a:headEnd type="none" w="sm" len="sm"/>
            <a:tailEnd type="none" w="sm" len="sm"/>
          </a:ln>
        </p:spPr>
      </p:cxnSp>
      <p:sp>
        <p:nvSpPr>
          <p:cNvPr id="10" name="Rounded Rectangle 24">
            <a:extLst>
              <a:ext uri="{FF2B5EF4-FFF2-40B4-BE49-F238E27FC236}">
                <a16:creationId xmlns:a16="http://schemas.microsoft.com/office/drawing/2014/main" id="{9B66CF5E-89E0-E8DB-03BA-6ACE3260CDB1}"/>
              </a:ext>
            </a:extLst>
          </p:cNvPr>
          <p:cNvSpPr/>
          <p:nvPr/>
        </p:nvSpPr>
        <p:spPr bwMode="ltGray">
          <a:xfrm>
            <a:off x="7079529" y="3901760"/>
            <a:ext cx="924807" cy="942746"/>
          </a:xfrm>
          <a:prstGeom prst="roundRect">
            <a:avLst>
              <a:gd name="adj" fmla="val 10904"/>
            </a:avLst>
          </a:prstGeom>
          <a:no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1400">
              <a:solidFill>
                <a:schemeClr val="tx1"/>
              </a:solidFill>
            </a:endParaRPr>
          </a:p>
        </p:txBody>
      </p:sp>
      <p:sp>
        <p:nvSpPr>
          <p:cNvPr id="11" name="Rounded Rectangle 22">
            <a:extLst>
              <a:ext uri="{FF2B5EF4-FFF2-40B4-BE49-F238E27FC236}">
                <a16:creationId xmlns:a16="http://schemas.microsoft.com/office/drawing/2014/main" id="{EFC60A88-9AF1-97E4-2D37-955DC75E68F4}"/>
              </a:ext>
            </a:extLst>
          </p:cNvPr>
          <p:cNvSpPr/>
          <p:nvPr/>
        </p:nvSpPr>
        <p:spPr bwMode="ltGray">
          <a:xfrm>
            <a:off x="1989056" y="3912129"/>
            <a:ext cx="2095041" cy="839987"/>
          </a:xfrm>
          <a:prstGeom prst="roundRect">
            <a:avLst/>
          </a:prstGeom>
          <a:solidFill>
            <a:schemeClr val="bg1">
              <a:alpha val="65000"/>
            </a:schemeClr>
          </a:solidFill>
          <a:ln w="3175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r>
              <a:rPr lang="pl-PL" sz="1200" dirty="0">
                <a:solidFill>
                  <a:schemeClr val="tx1"/>
                </a:solidFill>
              </a:rPr>
              <a:t>Definiuj polityki dla pojedynczego </a:t>
            </a:r>
            <a:r>
              <a:rPr lang="pl-PL" sz="1200" b="1" dirty="0">
                <a:solidFill>
                  <a:schemeClr val="tx1"/>
                </a:solidFill>
              </a:rPr>
              <a:t>użytkownika lub grup użytkowników</a:t>
            </a:r>
            <a:endParaRPr lang="en-US" sz="1200" b="1" dirty="0">
              <a:solidFill>
                <a:schemeClr val="tx1"/>
              </a:solidFill>
            </a:endParaRPr>
          </a:p>
        </p:txBody>
      </p:sp>
      <p:cxnSp>
        <p:nvCxnSpPr>
          <p:cNvPr id="2" name="Google Shape;492;p10">
            <a:extLst>
              <a:ext uri="{FF2B5EF4-FFF2-40B4-BE49-F238E27FC236}">
                <a16:creationId xmlns:a16="http://schemas.microsoft.com/office/drawing/2014/main" id="{2C3326DA-CEE5-A27F-A41C-05B390FEE582}"/>
              </a:ext>
            </a:extLst>
          </p:cNvPr>
          <p:cNvCxnSpPr>
            <a:cxnSpLocks/>
          </p:cNvCxnSpPr>
          <p:nvPr/>
        </p:nvCxnSpPr>
        <p:spPr>
          <a:xfrm flipH="1">
            <a:off x="5460642" y="2757323"/>
            <a:ext cx="3564362" cy="0"/>
          </a:xfrm>
          <a:prstGeom prst="straightConnector1">
            <a:avLst/>
          </a:prstGeom>
          <a:noFill/>
          <a:ln w="31750" cap="flat" cmpd="sng">
            <a:solidFill>
              <a:srgbClr val="32DAC8"/>
            </a:solidFill>
            <a:prstDash val="solid"/>
            <a:bevel/>
            <a:headEnd type="none" w="sm" len="sm"/>
            <a:tailEnd type="none" w="sm" len="sm"/>
          </a:ln>
        </p:spPr>
      </p:cxnSp>
    </p:spTree>
    <p:custDataLst>
      <p:tags r:id="rId1"/>
    </p:custDataLst>
    <p:extLst>
      <p:ext uri="{BB962C8B-B14F-4D97-AF65-F5344CB8AC3E}">
        <p14:creationId xmlns:p14="http://schemas.microsoft.com/office/powerpoint/2010/main" val="36845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6876485-67E0-3D75-5506-E03AF13236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46876485-67E0-3D75-5506-E03AF1323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DBF079D-C9BE-B56F-AE7F-FE27A6F92181}"/>
              </a:ext>
            </a:extLst>
          </p:cNvPr>
          <p:cNvSpPr>
            <a:spLocks noGrp="1"/>
          </p:cNvSpPr>
          <p:nvPr>
            <p:ph type="title"/>
          </p:nvPr>
        </p:nvSpPr>
        <p:spPr/>
        <p:txBody>
          <a:bodyPr vert="horz"/>
          <a:lstStyle/>
          <a:p>
            <a:r>
              <a:rPr lang="en-GB" dirty="0" err="1"/>
              <a:t>Zabezpieczamy</a:t>
            </a:r>
            <a:r>
              <a:rPr lang="en-GB" dirty="0"/>
              <a:t> </a:t>
            </a:r>
            <a:r>
              <a:rPr lang="en-GB" dirty="0">
                <a:solidFill>
                  <a:schemeClr val="accent5"/>
                </a:solidFill>
              </a:rPr>
              <a:t>in</a:t>
            </a:r>
            <a:r>
              <a:rPr lang="pl-PL" dirty="0">
                <a:solidFill>
                  <a:schemeClr val="accent5"/>
                </a:solidFill>
              </a:rPr>
              <a:t>n</a:t>
            </a:r>
            <a:r>
              <a:rPr lang="en-GB" dirty="0" err="1">
                <a:solidFill>
                  <a:schemeClr val="accent5"/>
                </a:solidFill>
              </a:rPr>
              <a:t>owacyjne</a:t>
            </a:r>
            <a:r>
              <a:rPr lang="en-GB" dirty="0">
                <a:solidFill>
                  <a:schemeClr val="accent5"/>
                </a:solidFill>
              </a:rPr>
              <a:t> </a:t>
            </a:r>
            <a:r>
              <a:rPr lang="en-GB" dirty="0" err="1">
                <a:solidFill>
                  <a:schemeClr val="accent5"/>
                </a:solidFill>
              </a:rPr>
              <a:t>organizacje</a:t>
            </a:r>
            <a:r>
              <a:rPr lang="pl-PL" dirty="0">
                <a:solidFill>
                  <a:schemeClr val="accent5"/>
                </a:solidFill>
              </a:rPr>
              <a:t> na całym świecie</a:t>
            </a:r>
            <a:endParaRPr lang="en-GB" dirty="0">
              <a:solidFill>
                <a:schemeClr val="accent5"/>
              </a:solidFill>
            </a:endParaRPr>
          </a:p>
        </p:txBody>
      </p:sp>
      <p:sp>
        <p:nvSpPr>
          <p:cNvPr id="5" name="Slide Number Placeholder 4">
            <a:extLst>
              <a:ext uri="{FF2B5EF4-FFF2-40B4-BE49-F238E27FC236}">
                <a16:creationId xmlns:a16="http://schemas.microsoft.com/office/drawing/2014/main" id="{A84C006F-D361-CE75-FA52-F4C124A3A549}"/>
              </a:ext>
            </a:extLst>
          </p:cNvPr>
          <p:cNvSpPr>
            <a:spLocks noGrp="1"/>
          </p:cNvSpPr>
          <p:nvPr>
            <p:ph type="sldNum" sz="quarter" idx="11"/>
          </p:nvPr>
        </p:nvSpPr>
        <p:spPr/>
        <p:txBody>
          <a:bodyPr/>
          <a:lstStyle/>
          <a:p>
            <a:pPr defTabSz="1088421"/>
            <a:fld id="{104FC826-72BB-4AF1-BA01-A94F7396A7DC}" type="slidenum">
              <a:rPr lang="en-US" smtClean="0"/>
              <a:pPr defTabSz="1088421"/>
              <a:t>21</a:t>
            </a:fld>
            <a:endParaRPr lang="en-US"/>
          </a:p>
        </p:txBody>
      </p:sp>
      <p:grpSp>
        <p:nvGrpSpPr>
          <p:cNvPr id="18" name="Group 17">
            <a:extLst>
              <a:ext uri="{FF2B5EF4-FFF2-40B4-BE49-F238E27FC236}">
                <a16:creationId xmlns:a16="http://schemas.microsoft.com/office/drawing/2014/main" id="{BDAF5137-CE16-653C-7829-10F214F7B478}"/>
              </a:ext>
            </a:extLst>
          </p:cNvPr>
          <p:cNvGrpSpPr/>
          <p:nvPr/>
        </p:nvGrpSpPr>
        <p:grpSpPr>
          <a:xfrm>
            <a:off x="516529" y="6423188"/>
            <a:ext cx="11190514" cy="436894"/>
            <a:chOff x="-718457" y="2046513"/>
            <a:chExt cx="13476514" cy="526143"/>
          </a:xfrm>
        </p:grpSpPr>
        <p:pic>
          <p:nvPicPr>
            <p:cNvPr id="19" name="Picture 18">
              <a:extLst>
                <a:ext uri="{FF2B5EF4-FFF2-40B4-BE49-F238E27FC236}">
                  <a16:creationId xmlns:a16="http://schemas.microsoft.com/office/drawing/2014/main" id="{815A024D-5F22-FC9D-556B-66C7A83A7E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8457" y="2156180"/>
              <a:ext cx="1083355" cy="306809"/>
            </a:xfrm>
            <a:prstGeom prst="rect">
              <a:avLst/>
            </a:prstGeom>
          </p:spPr>
        </p:pic>
        <p:pic>
          <p:nvPicPr>
            <p:cNvPr id="20" name="Picture 19">
              <a:extLst>
                <a:ext uri="{FF2B5EF4-FFF2-40B4-BE49-F238E27FC236}">
                  <a16:creationId xmlns:a16="http://schemas.microsoft.com/office/drawing/2014/main" id="{A0EDFE67-C8AE-82FC-712D-0324B3D93F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3071" y="2188843"/>
              <a:ext cx="1062972" cy="241482"/>
            </a:xfrm>
            <a:prstGeom prst="rect">
              <a:avLst/>
            </a:prstGeom>
          </p:spPr>
        </p:pic>
        <p:pic>
          <p:nvPicPr>
            <p:cNvPr id="21" name="Picture 20">
              <a:extLst>
                <a:ext uri="{FF2B5EF4-FFF2-40B4-BE49-F238E27FC236}">
                  <a16:creationId xmlns:a16="http://schemas.microsoft.com/office/drawing/2014/main" id="{04518FDF-B275-D47D-67E1-C21B68C0CBF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04216" y="2059590"/>
              <a:ext cx="499988" cy="499988"/>
            </a:xfrm>
            <a:prstGeom prst="rect">
              <a:avLst/>
            </a:prstGeom>
          </p:spPr>
        </p:pic>
        <p:pic>
          <p:nvPicPr>
            <p:cNvPr id="22" name="Picture 21">
              <a:extLst>
                <a:ext uri="{FF2B5EF4-FFF2-40B4-BE49-F238E27FC236}">
                  <a16:creationId xmlns:a16="http://schemas.microsoft.com/office/drawing/2014/main" id="{696AF8D9-F7BE-4682-6C1F-6B87BAFD2E7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92377" y="2182799"/>
              <a:ext cx="1349079" cy="253571"/>
            </a:xfrm>
            <a:prstGeom prst="rect">
              <a:avLst/>
            </a:prstGeom>
          </p:spPr>
        </p:pic>
        <p:pic>
          <p:nvPicPr>
            <p:cNvPr id="23" name="Picture 22">
              <a:extLst>
                <a:ext uri="{FF2B5EF4-FFF2-40B4-BE49-F238E27FC236}">
                  <a16:creationId xmlns:a16="http://schemas.microsoft.com/office/drawing/2014/main" id="{031807A7-CB6E-30A3-FC6C-972846032B2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029629" y="2245223"/>
              <a:ext cx="899386" cy="128723"/>
            </a:xfrm>
            <a:prstGeom prst="rect">
              <a:avLst/>
            </a:prstGeom>
          </p:spPr>
        </p:pic>
        <p:pic>
          <p:nvPicPr>
            <p:cNvPr id="24" name="Picture 23">
              <a:extLst>
                <a:ext uri="{FF2B5EF4-FFF2-40B4-BE49-F238E27FC236}">
                  <a16:creationId xmlns:a16="http://schemas.microsoft.com/office/drawing/2014/main" id="{4BA61828-5BF2-CB84-F728-0BC873C6859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117188" y="2161659"/>
              <a:ext cx="1052675" cy="295850"/>
            </a:xfrm>
            <a:prstGeom prst="rect">
              <a:avLst/>
            </a:prstGeom>
          </p:spPr>
        </p:pic>
        <p:pic>
          <p:nvPicPr>
            <p:cNvPr id="25" name="Picture 24">
              <a:extLst>
                <a:ext uri="{FF2B5EF4-FFF2-40B4-BE49-F238E27FC236}">
                  <a16:creationId xmlns:a16="http://schemas.microsoft.com/office/drawing/2014/main" id="{711859E6-A919-2D9B-C7C4-ECBD3636B93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358036" y="2139332"/>
              <a:ext cx="1146697" cy="340504"/>
            </a:xfrm>
            <a:prstGeom prst="rect">
              <a:avLst/>
            </a:prstGeom>
          </p:spPr>
        </p:pic>
        <p:pic>
          <p:nvPicPr>
            <p:cNvPr id="26" name="Picture 25">
              <a:extLst>
                <a:ext uri="{FF2B5EF4-FFF2-40B4-BE49-F238E27FC236}">
                  <a16:creationId xmlns:a16="http://schemas.microsoft.com/office/drawing/2014/main" id="{2C296B2A-54FE-CED8-38AD-E7A698A92A7D}"/>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692906" y="2046513"/>
              <a:ext cx="505265" cy="526143"/>
            </a:xfrm>
            <a:prstGeom prst="rect">
              <a:avLst/>
            </a:prstGeom>
          </p:spPr>
        </p:pic>
        <p:pic>
          <p:nvPicPr>
            <p:cNvPr id="27" name="Picture 26">
              <a:extLst>
                <a:ext uri="{FF2B5EF4-FFF2-40B4-BE49-F238E27FC236}">
                  <a16:creationId xmlns:a16="http://schemas.microsoft.com/office/drawing/2014/main" id="{23FC7011-55F9-B6CA-775A-8C1D713B1B0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386344" y="2239288"/>
              <a:ext cx="1045029" cy="140592"/>
            </a:xfrm>
            <a:prstGeom prst="rect">
              <a:avLst/>
            </a:prstGeom>
          </p:spPr>
        </p:pic>
        <p:pic>
          <p:nvPicPr>
            <p:cNvPr id="28" name="Picture 27">
              <a:extLst>
                <a:ext uri="{FF2B5EF4-FFF2-40B4-BE49-F238E27FC236}">
                  <a16:creationId xmlns:a16="http://schemas.microsoft.com/office/drawing/2014/main" id="{464FDD42-35FA-A37C-EE9A-296A08DFE35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619546" y="2169739"/>
              <a:ext cx="1190171" cy="279690"/>
            </a:xfrm>
            <a:prstGeom prst="rect">
              <a:avLst/>
            </a:prstGeom>
          </p:spPr>
        </p:pic>
        <p:pic>
          <p:nvPicPr>
            <p:cNvPr id="29" name="Picture 28">
              <a:extLst>
                <a:ext uri="{FF2B5EF4-FFF2-40B4-BE49-F238E27FC236}">
                  <a16:creationId xmlns:a16="http://schemas.microsoft.com/office/drawing/2014/main" id="{1D14C026-811B-489F-1816-521C665D9A9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997890" y="2127713"/>
              <a:ext cx="653143" cy="363742"/>
            </a:xfrm>
            <a:prstGeom prst="rect">
              <a:avLst/>
            </a:prstGeom>
          </p:spPr>
        </p:pic>
        <p:pic>
          <p:nvPicPr>
            <p:cNvPr id="30" name="Picture 29">
              <a:extLst>
                <a:ext uri="{FF2B5EF4-FFF2-40B4-BE49-F238E27FC236}">
                  <a16:creationId xmlns:a16="http://schemas.microsoft.com/office/drawing/2014/main" id="{15649F8C-9672-D700-CE57-56BFDFD426CF}"/>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11839201" y="2182857"/>
              <a:ext cx="918856" cy="253455"/>
            </a:xfrm>
            <a:prstGeom prst="rect">
              <a:avLst/>
            </a:prstGeom>
          </p:spPr>
        </p:pic>
      </p:grpSp>
      <p:sp>
        <p:nvSpPr>
          <p:cNvPr id="31" name="Title 1">
            <a:extLst>
              <a:ext uri="{FF2B5EF4-FFF2-40B4-BE49-F238E27FC236}">
                <a16:creationId xmlns:a16="http://schemas.microsoft.com/office/drawing/2014/main" id="{4F901397-DE9E-84C1-0C90-F48C133FA7D7}"/>
              </a:ext>
            </a:extLst>
          </p:cNvPr>
          <p:cNvSpPr txBox="1">
            <a:spLocks/>
          </p:cNvSpPr>
          <p:nvPr/>
        </p:nvSpPr>
        <p:spPr>
          <a:xfrm>
            <a:off x="1083771" y="1371059"/>
            <a:ext cx="3045690" cy="110799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b="1" i="0" kern="1200">
                <a:solidFill>
                  <a:schemeClr val="accent2"/>
                </a:solidFill>
                <a:latin typeface="+mj-lt"/>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chemeClr val="accent5"/>
                </a:solidFill>
                <a:effectLst/>
                <a:uLnTx/>
                <a:uFillTx/>
                <a:ea typeface="Open Sans Extrabold" panose="020B0606030504020204" pitchFamily="34" charset="0"/>
                <a:cs typeface="Open Sans Extrabold" panose="020B0606030504020204" pitchFamily="34" charset="0"/>
              </a:rPr>
              <a:t>500</a:t>
            </a:r>
            <a:r>
              <a:rPr kumimoji="0" lang="pl-PL" sz="4400" b="1" i="0" u="none" strike="noStrike" kern="1200" cap="none" spc="0" normalizeH="0" baseline="0" noProof="0" dirty="0">
                <a:ln>
                  <a:noFill/>
                </a:ln>
                <a:solidFill>
                  <a:schemeClr val="accent5"/>
                </a:solidFill>
                <a:effectLst/>
                <a:uLnTx/>
                <a:uFillTx/>
                <a:ea typeface="Open Sans Extrabold" panose="020B0606030504020204" pitchFamily="34" charset="0"/>
                <a:cs typeface="Open Sans Extrabold" panose="020B0606030504020204" pitchFamily="34" charset="0"/>
              </a:rPr>
              <a:t> 000</a:t>
            </a:r>
            <a:br>
              <a:rPr kumimoji="0" lang="en-US" sz="2400" b="1" i="0" u="none" strike="noStrike" kern="1200" cap="none" spc="0" normalizeH="0" baseline="0" noProof="0" dirty="0">
                <a:ln>
                  <a:noFill/>
                </a:ln>
                <a:solidFill>
                  <a:schemeClr val="tx1"/>
                </a:solidFill>
                <a:effectLst/>
                <a:uLnTx/>
                <a:uFillTx/>
              </a:rPr>
            </a:br>
            <a:r>
              <a:rPr kumimoji="0" lang="pl-PL" sz="1800" b="0" i="0" u="none" strike="noStrike" kern="1200" cap="none" spc="0" normalizeH="0" baseline="0" noProof="0" dirty="0">
                <a:ln>
                  <a:noFill/>
                </a:ln>
                <a:solidFill>
                  <a:schemeClr val="tx1"/>
                </a:solidFill>
                <a:effectLst/>
                <a:uLnTx/>
                <a:uFillTx/>
              </a:rPr>
              <a:t>klientów zaufało rozwiązaniom HPE Aruba</a:t>
            </a:r>
            <a:endParaRPr kumimoji="0" lang="en-US" sz="1800" b="0" i="0" u="none" strike="noStrike" kern="1200" cap="none" spc="0" normalizeH="0" baseline="0" noProof="0" dirty="0">
              <a:ln>
                <a:noFill/>
              </a:ln>
              <a:solidFill>
                <a:schemeClr val="tx1"/>
              </a:solidFill>
              <a:effectLst/>
              <a:uLnTx/>
              <a:uFillTx/>
            </a:endParaRPr>
          </a:p>
        </p:txBody>
      </p:sp>
      <p:pic>
        <p:nvPicPr>
          <p:cNvPr id="32" name="Picture 31" descr="Logo, company name&#10;&#10;Description automatically generated">
            <a:extLst>
              <a:ext uri="{FF2B5EF4-FFF2-40B4-BE49-F238E27FC236}">
                <a16:creationId xmlns:a16="http://schemas.microsoft.com/office/drawing/2014/main" id="{21F29341-9436-8C86-740A-18378ABAD670}"/>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6319119" y="3882005"/>
            <a:ext cx="1023160" cy="537660"/>
          </a:xfrm>
          <a:prstGeom prst="rect">
            <a:avLst/>
          </a:prstGeom>
        </p:spPr>
      </p:pic>
      <p:pic>
        <p:nvPicPr>
          <p:cNvPr id="33" name="Picture 32" descr="A picture containing qr code&#10;&#10;Description automatically generated">
            <a:extLst>
              <a:ext uri="{FF2B5EF4-FFF2-40B4-BE49-F238E27FC236}">
                <a16:creationId xmlns:a16="http://schemas.microsoft.com/office/drawing/2014/main" id="{D8BC75D7-0CCB-35F6-5DAB-626B98A0F653}"/>
              </a:ext>
            </a:extLst>
          </p:cNvPr>
          <p:cNvPicPr>
            <a:picLocks noChangeAspect="1"/>
          </p:cNvPicPr>
          <p:nvPr/>
        </p:nvPicPr>
        <p:blipFill>
          <a:blip r:embed="rId19"/>
          <a:stretch>
            <a:fillRect/>
          </a:stretch>
        </p:blipFill>
        <p:spPr>
          <a:xfrm>
            <a:off x="4595252" y="3884669"/>
            <a:ext cx="1126887" cy="532333"/>
          </a:xfrm>
          <a:prstGeom prst="rect">
            <a:avLst/>
          </a:prstGeom>
        </p:spPr>
      </p:pic>
      <p:pic>
        <p:nvPicPr>
          <p:cNvPr id="34" name="Picture 33" descr="Logo, company name&#10;&#10;Description automatically generated">
            <a:extLst>
              <a:ext uri="{FF2B5EF4-FFF2-40B4-BE49-F238E27FC236}">
                <a16:creationId xmlns:a16="http://schemas.microsoft.com/office/drawing/2014/main" id="{8D0969ED-0538-D84D-E202-078A07196C91}"/>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4467113" y="4454704"/>
            <a:ext cx="1399275" cy="532333"/>
          </a:xfrm>
          <a:prstGeom prst="rect">
            <a:avLst/>
          </a:prstGeom>
        </p:spPr>
      </p:pic>
      <p:pic>
        <p:nvPicPr>
          <p:cNvPr id="35" name="Picture 34" descr="A picture containing text, sign&#10;&#10;Description automatically generated">
            <a:extLst>
              <a:ext uri="{FF2B5EF4-FFF2-40B4-BE49-F238E27FC236}">
                <a16:creationId xmlns:a16="http://schemas.microsoft.com/office/drawing/2014/main" id="{6945F5B4-C46C-C7B3-E9ED-083B10A2CF49}"/>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2157152" y="3233671"/>
            <a:ext cx="579190" cy="579190"/>
          </a:xfrm>
          <a:prstGeom prst="rect">
            <a:avLst/>
          </a:prstGeom>
        </p:spPr>
      </p:pic>
      <p:pic>
        <p:nvPicPr>
          <p:cNvPr id="36" name="Picture 35" descr="Logo, company name&#10;&#10;Description automatically generated">
            <a:extLst>
              <a:ext uri="{FF2B5EF4-FFF2-40B4-BE49-F238E27FC236}">
                <a16:creationId xmlns:a16="http://schemas.microsoft.com/office/drawing/2014/main" id="{2BCAF6E1-0FB3-0605-B41D-8D29D0F054E4}"/>
              </a:ext>
            </a:extLst>
          </p:cNvPr>
          <p:cNvPicPr>
            <a:picLocks noChangeAspect="1"/>
          </p:cNvPicPr>
          <p:nvPr/>
        </p:nvPicPr>
        <p:blipFill>
          <a:blip r:embed="rId22"/>
          <a:stretch>
            <a:fillRect/>
          </a:stretch>
        </p:blipFill>
        <p:spPr>
          <a:xfrm>
            <a:off x="2879959" y="4335729"/>
            <a:ext cx="998223" cy="770282"/>
          </a:xfrm>
          <a:prstGeom prst="rect">
            <a:avLst/>
          </a:prstGeom>
        </p:spPr>
      </p:pic>
      <p:pic>
        <p:nvPicPr>
          <p:cNvPr id="37" name="Picture 36" descr="Text&#10;&#10;Description automatically generated with medium confidence">
            <a:extLst>
              <a:ext uri="{FF2B5EF4-FFF2-40B4-BE49-F238E27FC236}">
                <a16:creationId xmlns:a16="http://schemas.microsoft.com/office/drawing/2014/main" id="{4B230780-21F7-7C66-E116-E603C9E0723F}"/>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10264085" y="3258527"/>
            <a:ext cx="1210235" cy="529478"/>
          </a:xfrm>
          <a:prstGeom prst="rect">
            <a:avLst/>
          </a:prstGeom>
        </p:spPr>
      </p:pic>
      <p:pic>
        <p:nvPicPr>
          <p:cNvPr id="38" name="Picture 37" descr="Logo, company name&#10;&#10;Description automatically generated">
            <a:extLst>
              <a:ext uri="{FF2B5EF4-FFF2-40B4-BE49-F238E27FC236}">
                <a16:creationId xmlns:a16="http://schemas.microsoft.com/office/drawing/2014/main" id="{C0FAB26E-1D1F-1821-E858-13B427B16FF3}"/>
              </a:ext>
            </a:extLst>
          </p:cNvPr>
          <p:cNvPicPr>
            <a:picLocks noChangeAspect="1"/>
          </p:cNvPicPr>
          <p:nvPr/>
        </p:nvPicPr>
        <p:blipFill rotWithShape="1">
          <a:blip r:embed="rId24" cstate="hqprint">
            <a:extLst>
              <a:ext uri="{28A0092B-C50C-407E-A947-70E740481C1C}">
                <a14:useLocalDpi xmlns:a14="http://schemas.microsoft.com/office/drawing/2010/main"/>
              </a:ext>
            </a:extLst>
          </a:blip>
          <a:srcRect t="23905" b="21144"/>
          <a:stretch/>
        </p:blipFill>
        <p:spPr>
          <a:xfrm>
            <a:off x="1079755" y="3861240"/>
            <a:ext cx="1054000" cy="579190"/>
          </a:xfrm>
          <a:prstGeom prst="rect">
            <a:avLst/>
          </a:prstGeom>
        </p:spPr>
      </p:pic>
      <p:pic>
        <p:nvPicPr>
          <p:cNvPr id="39" name="Picture 38" descr="Logo, company name&#10;&#10;Description automatically generated">
            <a:extLst>
              <a:ext uri="{FF2B5EF4-FFF2-40B4-BE49-F238E27FC236}">
                <a16:creationId xmlns:a16="http://schemas.microsoft.com/office/drawing/2014/main" id="{3F68D081-F672-F2F7-FB34-5880BE89DD45}"/>
              </a:ext>
            </a:extLst>
          </p:cNvPr>
          <p:cNvPicPr>
            <a:picLocks noChangeAspect="1"/>
          </p:cNvPicPr>
          <p:nvPr/>
        </p:nvPicPr>
        <p:blipFill>
          <a:blip r:embed="rId25"/>
          <a:stretch>
            <a:fillRect/>
          </a:stretch>
        </p:blipFill>
        <p:spPr>
          <a:xfrm>
            <a:off x="2730735" y="3819640"/>
            <a:ext cx="1267537" cy="662391"/>
          </a:xfrm>
          <a:prstGeom prst="rect">
            <a:avLst/>
          </a:prstGeom>
        </p:spPr>
      </p:pic>
      <p:pic>
        <p:nvPicPr>
          <p:cNvPr id="40" name="Picture 39" descr="A red and white logo&#10;&#10;Description automatically generated with medium confidence">
            <a:extLst>
              <a:ext uri="{FF2B5EF4-FFF2-40B4-BE49-F238E27FC236}">
                <a16:creationId xmlns:a16="http://schemas.microsoft.com/office/drawing/2014/main" id="{54A8D103-121D-DFFF-6BF2-A8A8805A3B73}"/>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3393504" y="3358006"/>
            <a:ext cx="735957" cy="330520"/>
          </a:xfrm>
          <a:prstGeom prst="rect">
            <a:avLst/>
          </a:prstGeom>
        </p:spPr>
      </p:pic>
      <p:pic>
        <p:nvPicPr>
          <p:cNvPr id="41" name="Picture 40" descr="A picture containing text, clock, clipart&#10;&#10;Description automatically generated">
            <a:extLst>
              <a:ext uri="{FF2B5EF4-FFF2-40B4-BE49-F238E27FC236}">
                <a16:creationId xmlns:a16="http://schemas.microsoft.com/office/drawing/2014/main" id="{D190F604-4CA2-A25B-DF64-5EC3AE187B9F}"/>
              </a:ext>
            </a:extLst>
          </p:cNvPr>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9801798" y="3921631"/>
            <a:ext cx="887243" cy="458409"/>
          </a:xfrm>
          <a:prstGeom prst="rect">
            <a:avLst/>
          </a:prstGeom>
        </p:spPr>
      </p:pic>
      <p:pic>
        <p:nvPicPr>
          <p:cNvPr id="42" name="Picture 6" descr="Best Multispeciality Hospital in Nagpur - Kingsway Hospitals">
            <a:extLst>
              <a:ext uri="{FF2B5EF4-FFF2-40B4-BE49-F238E27FC236}">
                <a16:creationId xmlns:a16="http://schemas.microsoft.com/office/drawing/2014/main" id="{2EF33A57-B4D1-A36A-75D0-2F02D638E5CD}"/>
              </a:ext>
            </a:extLst>
          </p:cNvPr>
          <p:cNvPicPr>
            <a:picLocks noChangeAspect="1" noChangeArrowheads="1"/>
          </p:cNvPicPr>
          <p:nvPr/>
        </p:nvPicPr>
        <p:blipFill>
          <a:blip r:embed="rId28">
            <a:extLst>
              <a:ext uri="{28A0092B-C50C-407E-A947-70E740481C1C}">
                <a14:useLocalDpi xmlns:a14="http://schemas.microsoft.com/office/drawing/2010/main"/>
              </a:ext>
            </a:extLst>
          </a:blip>
          <a:srcRect/>
          <a:stretch>
            <a:fillRect/>
          </a:stretch>
        </p:blipFill>
        <p:spPr bwMode="auto">
          <a:xfrm>
            <a:off x="7939259" y="3969439"/>
            <a:ext cx="1265558" cy="36279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BayState Health | Customer Success Story">
            <a:extLst>
              <a:ext uri="{FF2B5EF4-FFF2-40B4-BE49-F238E27FC236}">
                <a16:creationId xmlns:a16="http://schemas.microsoft.com/office/drawing/2014/main" id="{42A1A535-9ADB-3C06-7C03-A343E5D6F417}"/>
              </a:ext>
            </a:extLst>
          </p:cNvPr>
          <p:cNvPicPr>
            <a:picLocks noChangeAspect="1" noChangeArrowheads="1"/>
          </p:cNvPicPr>
          <p:nvPr/>
        </p:nvPicPr>
        <p:blipFill>
          <a:blip r:embed="rId29">
            <a:extLst>
              <a:ext uri="{28A0092B-C50C-407E-A947-70E740481C1C}">
                <a14:useLocalDpi xmlns:a14="http://schemas.microsoft.com/office/drawing/2010/main"/>
              </a:ext>
            </a:extLst>
          </a:blip>
          <a:srcRect/>
          <a:stretch>
            <a:fillRect/>
          </a:stretch>
        </p:blipFill>
        <p:spPr bwMode="auto">
          <a:xfrm>
            <a:off x="8084108" y="4394244"/>
            <a:ext cx="1187732" cy="65325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Home - TrialCard">
            <a:extLst>
              <a:ext uri="{FF2B5EF4-FFF2-40B4-BE49-F238E27FC236}">
                <a16:creationId xmlns:a16="http://schemas.microsoft.com/office/drawing/2014/main" id="{070311F6-7CDB-2A4F-861C-38CE3F6AE049}"/>
              </a:ext>
            </a:extLst>
          </p:cNvPr>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6455319" y="4580489"/>
            <a:ext cx="1039859" cy="28076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Nuffield Health Reviews | Glassdoor">
            <a:extLst>
              <a:ext uri="{FF2B5EF4-FFF2-40B4-BE49-F238E27FC236}">
                <a16:creationId xmlns:a16="http://schemas.microsoft.com/office/drawing/2014/main" id="{64CE191F-D6E3-B29E-92FB-3D51E8B4ADE2}"/>
              </a:ext>
            </a:extLst>
          </p:cNvPr>
          <p:cNvPicPr>
            <a:picLocks noChangeAspect="1" noChangeArrowheads="1"/>
          </p:cNvPicPr>
          <p:nvPr/>
        </p:nvPicPr>
        <p:blipFill>
          <a:blip r:embed="rId31">
            <a:extLst>
              <a:ext uri="{28A0092B-C50C-407E-A947-70E740481C1C}">
                <a14:useLocalDpi xmlns:a14="http://schemas.microsoft.com/office/drawing/2010/main"/>
              </a:ext>
            </a:extLst>
          </a:blip>
          <a:srcRect/>
          <a:stretch>
            <a:fillRect/>
          </a:stretch>
        </p:blipFill>
        <p:spPr bwMode="auto">
          <a:xfrm>
            <a:off x="8913984" y="3176797"/>
            <a:ext cx="692939" cy="69293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5BCAFC98-5737-F072-913F-BDDD4570C432}"/>
              </a:ext>
            </a:extLst>
          </p:cNvPr>
          <p:cNvPicPr>
            <a:picLocks noChangeAspect="1"/>
          </p:cNvPicPr>
          <p:nvPr/>
        </p:nvPicPr>
        <p:blipFill>
          <a:blip r:embed="rId32"/>
          <a:stretch>
            <a:fillRect/>
          </a:stretch>
        </p:blipFill>
        <p:spPr>
          <a:xfrm>
            <a:off x="5398914" y="1175308"/>
            <a:ext cx="1343619" cy="1343619"/>
          </a:xfrm>
          <a:prstGeom prst="rect">
            <a:avLst/>
          </a:prstGeom>
        </p:spPr>
      </p:pic>
      <p:sp>
        <p:nvSpPr>
          <p:cNvPr id="47" name="Title 1">
            <a:extLst>
              <a:ext uri="{FF2B5EF4-FFF2-40B4-BE49-F238E27FC236}">
                <a16:creationId xmlns:a16="http://schemas.microsoft.com/office/drawing/2014/main" id="{6AF04003-2D72-E34E-D60E-6D2742ACC9AA}"/>
              </a:ext>
            </a:extLst>
          </p:cNvPr>
          <p:cNvSpPr txBox="1">
            <a:spLocks/>
          </p:cNvSpPr>
          <p:nvPr/>
        </p:nvSpPr>
        <p:spPr>
          <a:xfrm>
            <a:off x="7759248" y="1429300"/>
            <a:ext cx="3745869" cy="8309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800" b="1" i="0" kern="1200">
                <a:solidFill>
                  <a:schemeClr val="accent2"/>
                </a:solidFill>
                <a:latin typeface="+mj-lt"/>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err="1">
                <a:ln>
                  <a:noFill/>
                </a:ln>
                <a:solidFill>
                  <a:schemeClr val="accent5"/>
                </a:solidFill>
                <a:effectLst/>
                <a:uLnTx/>
                <a:uFillTx/>
                <a:ea typeface="Open Sans Extrabold" panose="020B0606030504020204" pitchFamily="34" charset="0"/>
                <a:cs typeface="Open Sans Extrabold" panose="020B0606030504020204" pitchFamily="34" charset="0"/>
              </a:rPr>
              <a:t>Certyfikacje</a:t>
            </a:r>
            <a:r>
              <a:rPr kumimoji="0" lang="en-US" sz="2400" b="1" i="0" u="none" strike="noStrike" kern="1200" cap="none" spc="0" normalizeH="0" baseline="0" noProof="0" dirty="0">
                <a:ln>
                  <a:noFill/>
                </a:ln>
                <a:solidFill>
                  <a:schemeClr val="accent5"/>
                </a:solidFill>
                <a:effectLst/>
                <a:uLnTx/>
                <a:uFillTx/>
                <a:ea typeface="Open Sans Extrabold" panose="020B0606030504020204" pitchFamily="34" charset="0"/>
                <a:cs typeface="Open Sans Extrabold" panose="020B0606030504020204" pitchFamily="34" charset="0"/>
              </a:rPr>
              <a:t> </a:t>
            </a:r>
            <a:r>
              <a:rPr kumimoji="0" lang="en-US" sz="2400" b="1" i="0" u="none" strike="noStrike" kern="1200" cap="none" spc="0" normalizeH="0" baseline="0" noProof="0" dirty="0" err="1">
                <a:ln>
                  <a:noFill/>
                </a:ln>
                <a:solidFill>
                  <a:schemeClr val="accent5"/>
                </a:solidFill>
                <a:effectLst/>
                <a:uLnTx/>
                <a:uFillTx/>
                <a:ea typeface="Open Sans Extrabold" panose="020B0606030504020204" pitchFamily="34" charset="0"/>
                <a:cs typeface="Open Sans Extrabold" panose="020B0606030504020204" pitchFamily="34" charset="0"/>
              </a:rPr>
              <a:t>bepieczeństwa</a:t>
            </a:r>
            <a:endParaRPr lang="en-US" sz="2400" dirty="0">
              <a:solidFill>
                <a:schemeClr val="accent5"/>
              </a:solidFill>
              <a:ea typeface="Open Sans Extrabold" panose="020B0606030504020204" pitchFamily="34" charset="0"/>
              <a:cs typeface="Open Sans Extrabold" panose="020B0606030504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ea typeface="Open Sans Extrabold" panose="020B0606030504020204" pitchFamily="34" charset="0"/>
                <a:cs typeface="Open Sans Extrabold" panose="020B0606030504020204" pitchFamily="34" charset="0"/>
              </a:rPr>
              <a:t>Common Criteria, FIPS, DODIN-APL Certified Solutions</a:t>
            </a:r>
            <a:r>
              <a:rPr kumimoji="0" lang="pl-PL" sz="1800" b="0" i="0" u="none" strike="noStrike" kern="1200" cap="none" spc="0" normalizeH="0" baseline="0" noProof="0" dirty="0">
                <a:ln>
                  <a:noFill/>
                </a:ln>
                <a:solidFill>
                  <a:schemeClr val="tx1"/>
                </a:solidFill>
                <a:effectLst/>
                <a:uLnTx/>
                <a:uFillTx/>
                <a:ea typeface="Open Sans Extrabold" panose="020B0606030504020204" pitchFamily="34" charset="0"/>
                <a:cs typeface="Open Sans Extrabold" panose="020B0606030504020204" pitchFamily="34" charset="0"/>
              </a:rPr>
              <a:t>, ISO 27001</a:t>
            </a:r>
            <a:endParaRPr kumimoji="0" lang="en-US" sz="1800" b="0" i="0" u="none" strike="noStrike" kern="1200" cap="none" spc="0" normalizeH="0" baseline="30000" noProof="0" dirty="0">
              <a:ln>
                <a:noFill/>
              </a:ln>
              <a:solidFill>
                <a:schemeClr val="tx1"/>
              </a:solidFill>
              <a:effectLst/>
              <a:uLnTx/>
              <a:uFillTx/>
              <a:ea typeface="Open Sans Extrabold" panose="020B0606030504020204" pitchFamily="34" charset="0"/>
              <a:cs typeface="Open Sans Extrabold" panose="020B0606030504020204" pitchFamily="34" charset="0"/>
            </a:endParaRPr>
          </a:p>
        </p:txBody>
      </p:sp>
      <p:pic>
        <p:nvPicPr>
          <p:cNvPr id="48" name="Picture 47">
            <a:extLst>
              <a:ext uri="{FF2B5EF4-FFF2-40B4-BE49-F238E27FC236}">
                <a16:creationId xmlns:a16="http://schemas.microsoft.com/office/drawing/2014/main" id="{873733A0-D64A-84AD-53D3-0825680744B5}"/>
              </a:ext>
            </a:extLst>
          </p:cNvPr>
          <p:cNvPicPr>
            <a:picLocks noChangeAspect="1"/>
          </p:cNvPicPr>
          <p:nvPr/>
        </p:nvPicPr>
        <p:blipFill>
          <a:blip r:embed="rId33" cstate="hqprint">
            <a:extLst>
              <a:ext uri="{28A0092B-C50C-407E-A947-70E740481C1C}">
                <a14:useLocalDpi xmlns:a14="http://schemas.microsoft.com/office/drawing/2010/main"/>
              </a:ext>
            </a:extLst>
          </a:blip>
          <a:stretch>
            <a:fillRect/>
          </a:stretch>
        </p:blipFill>
        <p:spPr>
          <a:xfrm>
            <a:off x="335975" y="3283479"/>
            <a:ext cx="1164015" cy="479574"/>
          </a:xfrm>
          <a:prstGeom prst="rect">
            <a:avLst/>
          </a:prstGeom>
        </p:spPr>
      </p:pic>
      <p:pic>
        <p:nvPicPr>
          <p:cNvPr id="49" name="Picture 48">
            <a:extLst>
              <a:ext uri="{FF2B5EF4-FFF2-40B4-BE49-F238E27FC236}">
                <a16:creationId xmlns:a16="http://schemas.microsoft.com/office/drawing/2014/main" id="{D0970D33-6B64-0BC9-864E-61FB1AB6BD8E}"/>
              </a:ext>
            </a:extLst>
          </p:cNvPr>
          <p:cNvPicPr>
            <a:picLocks noChangeAspect="1"/>
          </p:cNvPicPr>
          <p:nvPr/>
        </p:nvPicPr>
        <p:blipFill>
          <a:blip r:embed="rId34"/>
          <a:stretch>
            <a:fillRect/>
          </a:stretch>
        </p:blipFill>
        <p:spPr>
          <a:xfrm>
            <a:off x="6912428" y="3225579"/>
            <a:ext cx="1344394" cy="595374"/>
          </a:xfrm>
          <a:prstGeom prst="rect">
            <a:avLst/>
          </a:prstGeom>
        </p:spPr>
      </p:pic>
      <p:pic>
        <p:nvPicPr>
          <p:cNvPr id="50" name="Picture 49">
            <a:extLst>
              <a:ext uri="{FF2B5EF4-FFF2-40B4-BE49-F238E27FC236}">
                <a16:creationId xmlns:a16="http://schemas.microsoft.com/office/drawing/2014/main" id="{698F92CC-E8A3-C236-5E91-31B3B75C8868}"/>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4786623" y="3278492"/>
            <a:ext cx="1468643" cy="489548"/>
          </a:xfrm>
          <a:prstGeom prst="rect">
            <a:avLst/>
          </a:prstGeom>
        </p:spPr>
      </p:pic>
      <p:pic>
        <p:nvPicPr>
          <p:cNvPr id="53" name="Picture 4" descr="Image result for expedia logo">
            <a:extLst>
              <a:ext uri="{FF2B5EF4-FFF2-40B4-BE49-F238E27FC236}">
                <a16:creationId xmlns:a16="http://schemas.microsoft.com/office/drawing/2014/main" id="{FCFB1F66-9B7F-9BA5-8EF7-283B18A9A729}"/>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32893" b="35007"/>
          <a:stretch/>
        </p:blipFill>
        <p:spPr bwMode="auto">
          <a:xfrm>
            <a:off x="509743" y="5594652"/>
            <a:ext cx="764227" cy="24564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Image result for dropbox logo">
            <a:extLst>
              <a:ext uri="{FF2B5EF4-FFF2-40B4-BE49-F238E27FC236}">
                <a16:creationId xmlns:a16="http://schemas.microsoft.com/office/drawing/2014/main" id="{FB2C2E1F-F132-D738-2A9B-086BCE7271C5}"/>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t="26623" b="29448"/>
          <a:stretch/>
        </p:blipFill>
        <p:spPr bwMode="auto">
          <a:xfrm>
            <a:off x="2208152" y="5594652"/>
            <a:ext cx="990968" cy="24564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descr="Image result for Home depot logo">
            <a:extLst>
              <a:ext uri="{FF2B5EF4-FFF2-40B4-BE49-F238E27FC236}">
                <a16:creationId xmlns:a16="http://schemas.microsoft.com/office/drawing/2014/main" id="{454CC8AB-A0B1-963E-F405-ED849F335BB8}"/>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565692" y="5528799"/>
            <a:ext cx="394456" cy="39631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0">
            <a:extLst>
              <a:ext uri="{FF2B5EF4-FFF2-40B4-BE49-F238E27FC236}">
                <a16:creationId xmlns:a16="http://schemas.microsoft.com/office/drawing/2014/main" id="{4FFDE968-B83D-D6E2-FB56-E44AFA7B8D0B}"/>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519678" y="5594652"/>
            <a:ext cx="1314615" cy="24564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2" descr="DHL Logo, symbol, meaning, history, PNG">
            <a:extLst>
              <a:ext uri="{FF2B5EF4-FFF2-40B4-BE49-F238E27FC236}">
                <a16:creationId xmlns:a16="http://schemas.microsoft.com/office/drawing/2014/main" id="{F91001E4-6C69-5597-C2D6-464516CEC296}"/>
              </a:ext>
            </a:extLst>
          </p:cNvPr>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33721" b="28325"/>
          <a:stretch/>
        </p:blipFill>
        <p:spPr bwMode="auto">
          <a:xfrm>
            <a:off x="6023220" y="5628585"/>
            <a:ext cx="768039" cy="16598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4">
            <a:extLst>
              <a:ext uri="{FF2B5EF4-FFF2-40B4-BE49-F238E27FC236}">
                <a16:creationId xmlns:a16="http://schemas.microsoft.com/office/drawing/2014/main" id="{F347FAD6-EAB9-5857-49ED-5207D6BC2975}"/>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085013" y="5593374"/>
            <a:ext cx="964195" cy="25113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6" descr="United States Department of Defense - Wikipedia">
            <a:extLst>
              <a:ext uri="{FF2B5EF4-FFF2-40B4-BE49-F238E27FC236}">
                <a16:creationId xmlns:a16="http://schemas.microsoft.com/office/drawing/2014/main" id="{0253488B-D7C6-241F-AEB3-7BD148BF3AC6}"/>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365714" y="5629047"/>
            <a:ext cx="318130" cy="31813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8" descr="Logo guidelines - Create NSW">
            <a:extLst>
              <a:ext uri="{FF2B5EF4-FFF2-40B4-BE49-F238E27FC236}">
                <a16:creationId xmlns:a16="http://schemas.microsoft.com/office/drawing/2014/main" id="{610C0FA0-7C2D-5805-9C24-C07536C16CE4}"/>
              </a:ext>
            </a:extLst>
          </p:cNvPr>
          <p:cNvPicPr>
            <a:picLocks noChangeAspect="1" noChangeArrowheads="1"/>
          </p:cNvPicPr>
          <p:nvPr/>
        </p:nvPicPr>
        <p:blipFill rotWithShape="1">
          <a:blip r:embed="rId43" cstate="print">
            <a:extLst>
              <a:ext uri="{28A0092B-C50C-407E-A947-70E740481C1C}">
                <a14:useLocalDpi xmlns:a14="http://schemas.microsoft.com/office/drawing/2010/main" val="0"/>
              </a:ext>
            </a:extLst>
          </a:blip>
          <a:srcRect l="19486" r="16129"/>
          <a:stretch/>
        </p:blipFill>
        <p:spPr bwMode="auto">
          <a:xfrm>
            <a:off x="9055154" y="5630449"/>
            <a:ext cx="274218" cy="31211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0" descr="Tencent Logo and symbol, meaning, history, PNG, brand">
            <a:extLst>
              <a:ext uri="{FF2B5EF4-FFF2-40B4-BE49-F238E27FC236}">
                <a16:creationId xmlns:a16="http://schemas.microsoft.com/office/drawing/2014/main" id="{60AE5B88-4727-8D76-4D9C-A8B1DE8AE36A}"/>
              </a:ext>
            </a:extLst>
          </p:cNvPr>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t="33720" b="36354"/>
          <a:stretch/>
        </p:blipFill>
        <p:spPr bwMode="auto">
          <a:xfrm>
            <a:off x="9677221" y="5628585"/>
            <a:ext cx="971981" cy="16598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2">
            <a:extLst>
              <a:ext uri="{FF2B5EF4-FFF2-40B4-BE49-F238E27FC236}">
                <a16:creationId xmlns:a16="http://schemas.microsoft.com/office/drawing/2014/main" id="{5EF50BDD-19D3-4AF5-35B3-5771CFF47776}"/>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194437" y="5562409"/>
            <a:ext cx="562689" cy="318041"/>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4" descr="About the logo | University of Cambridge">
            <a:extLst>
              <a:ext uri="{FF2B5EF4-FFF2-40B4-BE49-F238E27FC236}">
                <a16:creationId xmlns:a16="http://schemas.microsoft.com/office/drawing/2014/main" id="{D4C27A1A-6A58-BEFD-B208-8FAC0055F641}"/>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10969867" y="5605228"/>
            <a:ext cx="846039" cy="22225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8F7AD658-833F-61C0-53AB-F9D2230F7E53}"/>
              </a:ext>
            </a:extLst>
          </p:cNvPr>
          <p:cNvPicPr preferRelativeResize="0">
            <a:picLocks noChangeAspect="1"/>
          </p:cNvPicPr>
          <p:nvPr/>
        </p:nvPicPr>
        <p:blipFill>
          <a:blip r:embed="rId47" cstate="print">
            <a:extLst>
              <a:ext uri="{28A0092B-C50C-407E-A947-70E740481C1C}">
                <a14:useLocalDpi xmlns:a14="http://schemas.microsoft.com/office/drawing/2010/main" val="0"/>
              </a:ext>
            </a:extLst>
          </a:blip>
          <a:srcRect/>
          <a:stretch/>
        </p:blipFill>
        <p:spPr>
          <a:xfrm>
            <a:off x="5088816" y="1376990"/>
            <a:ext cx="1860067" cy="1452055"/>
          </a:xfrm>
          <a:prstGeom prst="rect">
            <a:avLst/>
          </a:prstGeom>
        </p:spPr>
      </p:pic>
    </p:spTree>
    <p:extLst>
      <p:ext uri="{BB962C8B-B14F-4D97-AF65-F5344CB8AC3E}">
        <p14:creationId xmlns:p14="http://schemas.microsoft.com/office/powerpoint/2010/main" val="50738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AE94DB59-2993-41B8-AA2D-A95E6BF6DDA3}"/>
              </a:ext>
            </a:extLst>
          </p:cNvPr>
          <p:cNvSpPr>
            <a:spLocks noGrp="1"/>
          </p:cNvSpPr>
          <p:nvPr>
            <p:ph type="body" sz="quarter" idx="13"/>
          </p:nvPr>
        </p:nvSpPr>
        <p:spPr/>
        <p:txBody>
          <a:bodyPr/>
          <a:lstStyle/>
          <a:p>
            <a:r>
              <a:rPr lang="pl-PL" dirty="0">
                <a:hlinkClick r:id="rId3"/>
              </a:rPr>
              <a:t>michal.kolodziej@hpe.com</a:t>
            </a:r>
            <a:r>
              <a:rPr lang="pl-PL" dirty="0"/>
              <a:t>	</a:t>
            </a:r>
            <a:r>
              <a:rPr lang="pl-PL" sz="2000" dirty="0"/>
              <a:t>+48 507 009 959</a:t>
            </a:r>
          </a:p>
          <a:p>
            <a:r>
              <a:rPr lang="pl-PL" dirty="0">
                <a:hlinkClick r:id="rId4"/>
              </a:rPr>
              <a:t>longin.mikolajczyk@hpe.com</a:t>
            </a:r>
            <a:r>
              <a:rPr lang="pl-PL" dirty="0"/>
              <a:t>	</a:t>
            </a:r>
            <a:r>
              <a:rPr lang="pl-PL" sz="2000" dirty="0"/>
              <a:t>+48 608 667 936</a:t>
            </a:r>
            <a:endParaRPr lang="en-US" sz="2000" dirty="0"/>
          </a:p>
        </p:txBody>
      </p:sp>
      <p:sp>
        <p:nvSpPr>
          <p:cNvPr id="3" name="Title">
            <a:extLst>
              <a:ext uri="{FF2B5EF4-FFF2-40B4-BE49-F238E27FC236}">
                <a16:creationId xmlns:a16="http://schemas.microsoft.com/office/drawing/2014/main" id="{3817C569-99BE-4C61-8DBB-67B2DD76189C}"/>
              </a:ext>
            </a:extLst>
          </p:cNvPr>
          <p:cNvSpPr>
            <a:spLocks noGrp="1"/>
          </p:cNvSpPr>
          <p:nvPr>
            <p:ph type="title"/>
          </p:nvPr>
        </p:nvSpPr>
        <p:spPr>
          <a:xfrm>
            <a:off x="284749" y="521016"/>
            <a:ext cx="6195700" cy="2828660"/>
          </a:xfrm>
        </p:spPr>
        <p:txBody>
          <a:bodyPr/>
          <a:lstStyle/>
          <a:p>
            <a:r>
              <a:rPr lang="pl-PL" dirty="0"/>
              <a:t>Dziękujemy</a:t>
            </a:r>
            <a:endParaRPr lang="en-US" dirty="0"/>
          </a:p>
        </p:txBody>
      </p:sp>
    </p:spTree>
    <p:extLst>
      <p:ext uri="{BB962C8B-B14F-4D97-AF65-F5344CB8AC3E}">
        <p14:creationId xmlns:p14="http://schemas.microsoft.com/office/powerpoint/2010/main" val="144778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369D32-E4D6-AAE0-F520-6BE79D27C8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ED369D32-E4D6-AAE0-F520-6BE79D27C8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EF30855-A677-8555-0F5E-4BD0D6B5CCDB}"/>
              </a:ext>
            </a:extLst>
          </p:cNvPr>
          <p:cNvSpPr>
            <a:spLocks noGrp="1"/>
          </p:cNvSpPr>
          <p:nvPr>
            <p:ph type="sldNum" sz="quarter" idx="19"/>
          </p:nvPr>
        </p:nvSpPr>
        <p:spPr/>
        <p:txBody>
          <a:bodyPr/>
          <a:lstStyle/>
          <a:p>
            <a:pPr defTabSz="1088421">
              <a:buFontTx/>
              <a:buBlip>
                <a:blip r:embed="rId6"/>
              </a:buBlip>
            </a:pPr>
            <a:fld id="{104FC826-72BB-4AF1-BA01-A94F7396A7DC}" type="slidenum">
              <a:rPr lang="en-US" smtClean="0"/>
              <a:pPr defTabSz="1088421">
                <a:buFontTx/>
                <a:buBlip>
                  <a:blip r:embed="rId6"/>
                </a:buBlip>
              </a:pPr>
              <a:t>3</a:t>
            </a:fld>
            <a:endParaRPr lang="en-US"/>
          </a:p>
        </p:txBody>
      </p:sp>
      <p:sp>
        <p:nvSpPr>
          <p:cNvPr id="5" name="Title 4">
            <a:extLst>
              <a:ext uri="{FF2B5EF4-FFF2-40B4-BE49-F238E27FC236}">
                <a16:creationId xmlns:a16="http://schemas.microsoft.com/office/drawing/2014/main" id="{4E26E465-6018-AF08-D0F2-4891A244C37C}"/>
              </a:ext>
            </a:extLst>
          </p:cNvPr>
          <p:cNvSpPr>
            <a:spLocks noGrp="1"/>
          </p:cNvSpPr>
          <p:nvPr>
            <p:ph type="title"/>
          </p:nvPr>
        </p:nvSpPr>
        <p:spPr/>
        <p:txBody>
          <a:bodyPr vert="horz"/>
          <a:lstStyle/>
          <a:p>
            <a:r>
              <a:rPr lang="en-US" dirty="0"/>
              <a:t>Aruba Edge Services Platform</a:t>
            </a:r>
            <a:endParaRPr lang="en-GB" dirty="0"/>
          </a:p>
        </p:txBody>
      </p:sp>
      <p:grpSp>
        <p:nvGrpSpPr>
          <p:cNvPr id="11" name="Group 10">
            <a:extLst>
              <a:ext uri="{FF2B5EF4-FFF2-40B4-BE49-F238E27FC236}">
                <a16:creationId xmlns:a16="http://schemas.microsoft.com/office/drawing/2014/main" id="{87B686BD-6F3F-179C-D237-6AC8934950BE}"/>
              </a:ext>
            </a:extLst>
          </p:cNvPr>
          <p:cNvGrpSpPr/>
          <p:nvPr/>
        </p:nvGrpSpPr>
        <p:grpSpPr>
          <a:xfrm>
            <a:off x="3200426" y="918587"/>
            <a:ext cx="8538983" cy="5257850"/>
            <a:chOff x="1826188" y="903507"/>
            <a:chExt cx="8538983" cy="5257850"/>
          </a:xfrm>
        </p:grpSpPr>
        <p:sp>
          <p:nvSpPr>
            <p:cNvPr id="12" name="Rectangle 11">
              <a:extLst>
                <a:ext uri="{FF2B5EF4-FFF2-40B4-BE49-F238E27FC236}">
                  <a16:creationId xmlns:a16="http://schemas.microsoft.com/office/drawing/2014/main" id="{86E98D29-16C1-FA37-B047-3CCDC7D38893}"/>
                </a:ext>
              </a:extLst>
            </p:cNvPr>
            <p:cNvSpPr/>
            <p:nvPr/>
          </p:nvSpPr>
          <p:spPr bwMode="ltGray">
            <a:xfrm>
              <a:off x="1826188" y="903507"/>
              <a:ext cx="8538983" cy="702216"/>
            </a:xfrm>
            <a:prstGeom prst="rect">
              <a:avLst/>
            </a:prstGeom>
            <a:noFill/>
            <a:ln w="3810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3" name="Rectangle 12">
              <a:extLst>
                <a:ext uri="{FF2B5EF4-FFF2-40B4-BE49-F238E27FC236}">
                  <a16:creationId xmlns:a16="http://schemas.microsoft.com/office/drawing/2014/main" id="{F0BDC547-221F-FD42-1510-C40A5B9E5647}"/>
                </a:ext>
              </a:extLst>
            </p:cNvPr>
            <p:cNvSpPr/>
            <p:nvPr/>
          </p:nvSpPr>
          <p:spPr bwMode="ltGray">
            <a:xfrm>
              <a:off x="1826188" y="1729902"/>
              <a:ext cx="8538983" cy="4431455"/>
            </a:xfrm>
            <a:prstGeom prst="rect">
              <a:avLst/>
            </a:prstGeom>
            <a:noFill/>
            <a:ln w="38100">
              <a:solidFill>
                <a:srgbClr val="32DAC8"/>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4" name="Rectangle 13">
              <a:extLst>
                <a:ext uri="{FF2B5EF4-FFF2-40B4-BE49-F238E27FC236}">
                  <a16:creationId xmlns:a16="http://schemas.microsoft.com/office/drawing/2014/main" id="{49787C5F-0F26-988F-4D75-652FCE9439CD}"/>
                </a:ext>
              </a:extLst>
            </p:cNvPr>
            <p:cNvSpPr/>
            <p:nvPr/>
          </p:nvSpPr>
          <p:spPr bwMode="ltGray">
            <a:xfrm>
              <a:off x="1971219" y="1878924"/>
              <a:ext cx="7543961" cy="4164903"/>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15" name="Rectangle 14">
              <a:extLst>
                <a:ext uri="{FF2B5EF4-FFF2-40B4-BE49-F238E27FC236}">
                  <a16:creationId xmlns:a16="http://schemas.microsoft.com/office/drawing/2014/main" id="{0FC09909-762A-E0C3-32BA-946536860890}"/>
                </a:ext>
              </a:extLst>
            </p:cNvPr>
            <p:cNvSpPr/>
            <p:nvPr/>
          </p:nvSpPr>
          <p:spPr bwMode="ltGray">
            <a:xfrm>
              <a:off x="9640592" y="1863792"/>
              <a:ext cx="613179" cy="4164903"/>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6" name="TextBox 15">
              <a:extLst>
                <a:ext uri="{FF2B5EF4-FFF2-40B4-BE49-F238E27FC236}">
                  <a16:creationId xmlns:a16="http://schemas.microsoft.com/office/drawing/2014/main" id="{F32418CC-8AAC-8978-62CE-DC59CA4C3E55}"/>
                </a:ext>
              </a:extLst>
            </p:cNvPr>
            <p:cNvSpPr txBox="1"/>
            <p:nvPr/>
          </p:nvSpPr>
          <p:spPr>
            <a:xfrm rot="5400000">
              <a:off x="8379042" y="3871097"/>
              <a:ext cx="3136277" cy="28253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etricHPE"/>
                  <a:ea typeface="+mn-ea"/>
                  <a:cs typeface="+mn-cs"/>
                </a:rPr>
                <a:t>Central Cloud Management</a:t>
              </a:r>
            </a:p>
          </p:txBody>
        </p:sp>
        <p:cxnSp>
          <p:nvCxnSpPr>
            <p:cNvPr id="17" name="Straight Connector 16">
              <a:extLst>
                <a:ext uri="{FF2B5EF4-FFF2-40B4-BE49-F238E27FC236}">
                  <a16:creationId xmlns:a16="http://schemas.microsoft.com/office/drawing/2014/main" id="{A468BE3C-192A-F3C5-41C2-F6A78700D816}"/>
                </a:ext>
              </a:extLst>
            </p:cNvPr>
            <p:cNvCxnSpPr>
              <a:cxnSpLocks/>
            </p:cNvCxnSpPr>
            <p:nvPr/>
          </p:nvCxnSpPr>
          <p:spPr>
            <a:xfrm>
              <a:off x="2141723" y="2966599"/>
              <a:ext cx="7157623"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BDC17A8-4C28-3377-1A5E-31B682FA3635}"/>
                </a:ext>
              </a:extLst>
            </p:cNvPr>
            <p:cNvCxnSpPr>
              <a:cxnSpLocks/>
            </p:cNvCxnSpPr>
            <p:nvPr/>
          </p:nvCxnSpPr>
          <p:spPr>
            <a:xfrm>
              <a:off x="2137509" y="4038452"/>
              <a:ext cx="7166051"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F0C682D-C9BC-0413-779D-E59117BD881E}"/>
                </a:ext>
              </a:extLst>
            </p:cNvPr>
            <p:cNvCxnSpPr>
              <a:cxnSpLocks/>
            </p:cNvCxnSpPr>
            <p:nvPr/>
          </p:nvCxnSpPr>
          <p:spPr>
            <a:xfrm>
              <a:off x="2141723" y="5110304"/>
              <a:ext cx="7157623"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7D02EA0-0ED8-A6F6-2768-E5B921DE1C4B}"/>
                </a:ext>
              </a:extLst>
            </p:cNvPr>
            <p:cNvSpPr txBox="1"/>
            <p:nvPr/>
          </p:nvSpPr>
          <p:spPr>
            <a:xfrm>
              <a:off x="4836268" y="2699125"/>
              <a:ext cx="2110503" cy="28253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etricHPE"/>
                  <a:ea typeface="+mn-ea"/>
                  <a:cs typeface="+mn-cs"/>
                </a:rPr>
                <a:t>Network as a Service</a:t>
              </a:r>
            </a:p>
          </p:txBody>
        </p:sp>
        <p:sp>
          <p:nvSpPr>
            <p:cNvPr id="21" name="TextBox 20">
              <a:extLst>
                <a:ext uri="{FF2B5EF4-FFF2-40B4-BE49-F238E27FC236}">
                  <a16:creationId xmlns:a16="http://schemas.microsoft.com/office/drawing/2014/main" id="{D5FFFB4E-3BBC-3BEA-E43C-C2345CC39D93}"/>
                </a:ext>
              </a:extLst>
            </p:cNvPr>
            <p:cNvSpPr txBox="1"/>
            <p:nvPr/>
          </p:nvSpPr>
          <p:spPr>
            <a:xfrm>
              <a:off x="4836268" y="3741106"/>
              <a:ext cx="2110503" cy="28253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etricHPE"/>
                  <a:ea typeface="+mn-ea"/>
                  <a:cs typeface="+mn-cs"/>
                </a:rPr>
                <a:t>AI and Automation</a:t>
              </a:r>
            </a:p>
          </p:txBody>
        </p:sp>
        <p:sp>
          <p:nvSpPr>
            <p:cNvPr id="22" name="TextBox 21">
              <a:extLst>
                <a:ext uri="{FF2B5EF4-FFF2-40B4-BE49-F238E27FC236}">
                  <a16:creationId xmlns:a16="http://schemas.microsoft.com/office/drawing/2014/main" id="{034A88B2-9AF7-5C8F-9348-27F886C9C6CC}"/>
                </a:ext>
              </a:extLst>
            </p:cNvPr>
            <p:cNvSpPr txBox="1"/>
            <p:nvPr/>
          </p:nvSpPr>
          <p:spPr>
            <a:xfrm>
              <a:off x="4836268" y="4810792"/>
              <a:ext cx="2110503" cy="28253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Edge-to-Cloud Security</a:t>
              </a:r>
            </a:p>
          </p:txBody>
        </p:sp>
        <p:sp>
          <p:nvSpPr>
            <p:cNvPr id="23" name="TextBox 22">
              <a:extLst>
                <a:ext uri="{FF2B5EF4-FFF2-40B4-BE49-F238E27FC236}">
                  <a16:creationId xmlns:a16="http://schemas.microsoft.com/office/drawing/2014/main" id="{984A8703-C8B0-9879-A32A-C910DA3CE353}"/>
                </a:ext>
              </a:extLst>
            </p:cNvPr>
            <p:cNvSpPr txBox="1"/>
            <p:nvPr/>
          </p:nvSpPr>
          <p:spPr>
            <a:xfrm>
              <a:off x="4836268" y="5762830"/>
              <a:ext cx="2110503" cy="28253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Unified Infrastructure</a:t>
              </a:r>
            </a:p>
          </p:txBody>
        </p:sp>
        <p:sp>
          <p:nvSpPr>
            <p:cNvPr id="24" name="TextBox 23">
              <a:extLst>
                <a:ext uri="{FF2B5EF4-FFF2-40B4-BE49-F238E27FC236}">
                  <a16:creationId xmlns:a16="http://schemas.microsoft.com/office/drawing/2014/main" id="{2E5E3F8F-041E-55AF-C797-0C3B1F237AE2}"/>
                </a:ext>
              </a:extLst>
            </p:cNvPr>
            <p:cNvSpPr txBox="1"/>
            <p:nvPr/>
          </p:nvSpPr>
          <p:spPr>
            <a:xfrm rot="16200000">
              <a:off x="1828593" y="2328652"/>
              <a:ext cx="914400" cy="125928"/>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Adapt</a:t>
              </a:r>
            </a:p>
          </p:txBody>
        </p:sp>
        <p:sp>
          <p:nvSpPr>
            <p:cNvPr id="25" name="TextBox 24">
              <a:extLst>
                <a:ext uri="{FF2B5EF4-FFF2-40B4-BE49-F238E27FC236}">
                  <a16:creationId xmlns:a16="http://schemas.microsoft.com/office/drawing/2014/main" id="{ED2B0390-3AFC-0172-C695-3E0E3B96EE99}"/>
                </a:ext>
              </a:extLst>
            </p:cNvPr>
            <p:cNvSpPr txBox="1"/>
            <p:nvPr/>
          </p:nvSpPr>
          <p:spPr>
            <a:xfrm rot="16200000">
              <a:off x="1829390" y="3402788"/>
              <a:ext cx="912806" cy="205060"/>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Automate</a:t>
              </a:r>
            </a:p>
          </p:txBody>
        </p:sp>
        <p:sp>
          <p:nvSpPr>
            <p:cNvPr id="26" name="TextBox 25">
              <a:extLst>
                <a:ext uri="{FF2B5EF4-FFF2-40B4-BE49-F238E27FC236}">
                  <a16:creationId xmlns:a16="http://schemas.microsoft.com/office/drawing/2014/main" id="{0F5C1F66-2CF7-88E4-78CA-0E0E87133F70}"/>
                </a:ext>
              </a:extLst>
            </p:cNvPr>
            <p:cNvSpPr txBox="1"/>
            <p:nvPr/>
          </p:nvSpPr>
          <p:spPr>
            <a:xfrm rot="16200000">
              <a:off x="1860762" y="4473678"/>
              <a:ext cx="850063" cy="205060"/>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Protect</a:t>
              </a:r>
            </a:p>
          </p:txBody>
        </p:sp>
        <p:sp>
          <p:nvSpPr>
            <p:cNvPr id="27" name="TextBox 26">
              <a:extLst>
                <a:ext uri="{FF2B5EF4-FFF2-40B4-BE49-F238E27FC236}">
                  <a16:creationId xmlns:a16="http://schemas.microsoft.com/office/drawing/2014/main" id="{35C84B5E-F9F1-EAA6-8699-43466ECA0968}"/>
                </a:ext>
              </a:extLst>
            </p:cNvPr>
            <p:cNvSpPr txBox="1"/>
            <p:nvPr/>
          </p:nvSpPr>
          <p:spPr>
            <a:xfrm rot="16200000">
              <a:off x="1829390" y="5447808"/>
              <a:ext cx="912806" cy="205060"/>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Connect</a:t>
              </a:r>
            </a:p>
          </p:txBody>
        </p:sp>
        <p:sp>
          <p:nvSpPr>
            <p:cNvPr id="28" name="TextBox 27">
              <a:extLst>
                <a:ext uri="{FF2B5EF4-FFF2-40B4-BE49-F238E27FC236}">
                  <a16:creationId xmlns:a16="http://schemas.microsoft.com/office/drawing/2014/main" id="{7DA065AC-5EB3-7A25-1FD4-68AFBA63CC83}"/>
                </a:ext>
              </a:extLst>
            </p:cNvPr>
            <p:cNvSpPr txBox="1"/>
            <p:nvPr/>
          </p:nvSpPr>
          <p:spPr>
            <a:xfrm>
              <a:off x="2463417" y="1368356"/>
              <a:ext cx="1397266" cy="45719"/>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en-US" sz="1400" b="1" dirty="0" err="1">
                  <a:solidFill>
                    <a:prstClr val="black"/>
                  </a:solidFill>
                  <a:latin typeface="MetricHPE"/>
                </a:rPr>
                <a:t>Dostęp</a:t>
              </a:r>
              <a:r>
                <a:rPr lang="en-US" sz="1400" b="1" dirty="0">
                  <a:solidFill>
                    <a:prstClr val="black"/>
                  </a:solidFill>
                  <a:latin typeface="MetricHPE"/>
                </a:rPr>
                <a:t> </a:t>
              </a:r>
              <a:r>
                <a:rPr lang="en-US" sz="1400" b="1" dirty="0" err="1">
                  <a:solidFill>
                    <a:prstClr val="black"/>
                  </a:solidFill>
                  <a:latin typeface="MetricHPE"/>
                </a:rPr>
                <a:t>zdalny</a:t>
              </a:r>
              <a:endParaRPr kumimoji="0" lang="en-US" sz="1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29" name="TextBox 28">
              <a:extLst>
                <a:ext uri="{FF2B5EF4-FFF2-40B4-BE49-F238E27FC236}">
                  <a16:creationId xmlns:a16="http://schemas.microsoft.com/office/drawing/2014/main" id="{722A676F-75FE-93D5-3075-5FFDD64533CE}"/>
                </a:ext>
              </a:extLst>
            </p:cNvPr>
            <p:cNvSpPr txBox="1"/>
            <p:nvPr/>
          </p:nvSpPr>
          <p:spPr>
            <a:xfrm>
              <a:off x="4070654" y="1386671"/>
              <a:ext cx="1005840" cy="80602"/>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en-US" sz="1400" b="1" dirty="0">
                  <a:solidFill>
                    <a:prstClr val="black"/>
                  </a:solidFill>
                  <a:latin typeface="MetricHPE"/>
                </a:rPr>
                <a:t>O</a:t>
              </a:r>
              <a:r>
                <a:rPr lang="pl-PL" sz="1400" b="1" dirty="0">
                  <a:solidFill>
                    <a:prstClr val="black"/>
                  </a:solidFill>
                  <a:latin typeface="MetricHPE"/>
                </a:rPr>
                <a:t>ddział</a:t>
              </a:r>
              <a:endParaRPr kumimoji="0" lang="en-US" sz="1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30" name="TextBox 29">
              <a:extLst>
                <a:ext uri="{FF2B5EF4-FFF2-40B4-BE49-F238E27FC236}">
                  <a16:creationId xmlns:a16="http://schemas.microsoft.com/office/drawing/2014/main" id="{B6DEF488-55B6-8B99-4830-6227ECF5C87A}"/>
                </a:ext>
              </a:extLst>
            </p:cNvPr>
            <p:cNvSpPr txBox="1"/>
            <p:nvPr/>
          </p:nvSpPr>
          <p:spPr>
            <a:xfrm>
              <a:off x="5516314" y="1386671"/>
              <a:ext cx="1005840" cy="80602"/>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pl-PL" sz="1400" b="1" dirty="0">
                  <a:solidFill>
                    <a:prstClr val="black"/>
                  </a:solidFill>
                  <a:latin typeface="MetricHPE"/>
                </a:rPr>
                <a:t>C</a:t>
              </a:r>
              <a:r>
                <a:rPr kumimoji="0" lang="en-US" sz="1400" b="1" i="0" u="none" strike="noStrike" kern="1200" cap="none" spc="0" normalizeH="0" baseline="0" noProof="0" dirty="0" err="1">
                  <a:ln>
                    <a:noFill/>
                  </a:ln>
                  <a:solidFill>
                    <a:prstClr val="black"/>
                  </a:solidFill>
                  <a:effectLst/>
                  <a:uLnTx/>
                  <a:uFillTx/>
                  <a:latin typeface="MetricHPE"/>
                  <a:ea typeface="+mn-ea"/>
                  <a:cs typeface="+mn-cs"/>
                </a:rPr>
                <a:t>hmura</a:t>
              </a:r>
              <a:endParaRPr kumimoji="0" lang="en-US" sz="1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31" name="TextBox 30">
              <a:extLst>
                <a:ext uri="{FF2B5EF4-FFF2-40B4-BE49-F238E27FC236}">
                  <a16:creationId xmlns:a16="http://schemas.microsoft.com/office/drawing/2014/main" id="{300120C7-FE14-08CB-264A-BE72BD594F77}"/>
                </a:ext>
              </a:extLst>
            </p:cNvPr>
            <p:cNvSpPr txBox="1"/>
            <p:nvPr/>
          </p:nvSpPr>
          <p:spPr>
            <a:xfrm>
              <a:off x="6961974" y="1386671"/>
              <a:ext cx="1005840" cy="80602"/>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en-US" sz="1400" b="1" dirty="0" err="1">
                  <a:solidFill>
                    <a:prstClr val="black"/>
                  </a:solidFill>
                  <a:latin typeface="MetricHPE"/>
                </a:rPr>
                <a:t>Szpital</a:t>
              </a:r>
              <a:endParaRPr kumimoji="0" lang="en-US" sz="1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32" name="TextBox 31">
              <a:extLst>
                <a:ext uri="{FF2B5EF4-FFF2-40B4-BE49-F238E27FC236}">
                  <a16:creationId xmlns:a16="http://schemas.microsoft.com/office/drawing/2014/main" id="{3AF960B6-8327-AEA3-D42C-F06E39BB6D76}"/>
                </a:ext>
              </a:extLst>
            </p:cNvPr>
            <p:cNvSpPr txBox="1"/>
            <p:nvPr/>
          </p:nvSpPr>
          <p:spPr>
            <a:xfrm>
              <a:off x="8387756" y="1412191"/>
              <a:ext cx="1106893" cy="55082"/>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Data Center</a:t>
              </a:r>
            </a:p>
          </p:txBody>
        </p:sp>
        <p:sp>
          <p:nvSpPr>
            <p:cNvPr id="33" name="TextBox 32">
              <a:extLst>
                <a:ext uri="{FF2B5EF4-FFF2-40B4-BE49-F238E27FC236}">
                  <a16:creationId xmlns:a16="http://schemas.microsoft.com/office/drawing/2014/main" id="{9FD3CD41-1738-5CA2-3427-2F8161B6745B}"/>
                </a:ext>
              </a:extLst>
            </p:cNvPr>
            <p:cNvSpPr txBox="1"/>
            <p:nvPr/>
          </p:nvSpPr>
          <p:spPr>
            <a:xfrm>
              <a:off x="2577949" y="2313604"/>
              <a:ext cx="1005840" cy="166199"/>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Operational</a:t>
              </a:r>
            </a:p>
          </p:txBody>
        </p:sp>
        <p:sp>
          <p:nvSpPr>
            <p:cNvPr id="34" name="TextBox 33">
              <a:extLst>
                <a:ext uri="{FF2B5EF4-FFF2-40B4-BE49-F238E27FC236}">
                  <a16:creationId xmlns:a16="http://schemas.microsoft.com/office/drawing/2014/main" id="{90163594-6CE5-6B63-3623-283D53883A88}"/>
                </a:ext>
              </a:extLst>
            </p:cNvPr>
            <p:cNvSpPr txBox="1"/>
            <p:nvPr/>
          </p:nvSpPr>
          <p:spPr>
            <a:xfrm>
              <a:off x="3705071" y="2313604"/>
              <a:ext cx="1005840" cy="1661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Financial</a:t>
              </a:r>
            </a:p>
          </p:txBody>
        </p:sp>
        <p:sp>
          <p:nvSpPr>
            <p:cNvPr id="35" name="TextBox 34">
              <a:extLst>
                <a:ext uri="{FF2B5EF4-FFF2-40B4-BE49-F238E27FC236}">
                  <a16:creationId xmlns:a16="http://schemas.microsoft.com/office/drawing/2014/main" id="{F774E2B4-42B4-B499-213C-AF7624AE7BB1}"/>
                </a:ext>
              </a:extLst>
            </p:cNvPr>
            <p:cNvSpPr txBox="1"/>
            <p:nvPr/>
          </p:nvSpPr>
          <p:spPr>
            <a:xfrm>
              <a:off x="4832193" y="2313604"/>
              <a:ext cx="1005840" cy="1661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Technology</a:t>
              </a:r>
            </a:p>
          </p:txBody>
        </p:sp>
        <p:sp>
          <p:nvSpPr>
            <p:cNvPr id="36" name="TextBox 35">
              <a:extLst>
                <a:ext uri="{FF2B5EF4-FFF2-40B4-BE49-F238E27FC236}">
                  <a16:creationId xmlns:a16="http://schemas.microsoft.com/office/drawing/2014/main" id="{B43D3370-9AC2-BFF2-8668-BCF74CEFAF12}"/>
                </a:ext>
              </a:extLst>
            </p:cNvPr>
            <p:cNvSpPr txBox="1"/>
            <p:nvPr/>
          </p:nvSpPr>
          <p:spPr>
            <a:xfrm>
              <a:off x="5959315" y="2313604"/>
              <a:ext cx="1005840" cy="1661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Deployment</a:t>
              </a:r>
            </a:p>
          </p:txBody>
        </p:sp>
        <p:sp>
          <p:nvSpPr>
            <p:cNvPr id="37" name="TextBox 36">
              <a:extLst>
                <a:ext uri="{FF2B5EF4-FFF2-40B4-BE49-F238E27FC236}">
                  <a16:creationId xmlns:a16="http://schemas.microsoft.com/office/drawing/2014/main" id="{15C097A7-6B26-D378-4D63-FA9798339816}"/>
                </a:ext>
              </a:extLst>
            </p:cNvPr>
            <p:cNvSpPr txBox="1"/>
            <p:nvPr/>
          </p:nvSpPr>
          <p:spPr>
            <a:xfrm>
              <a:off x="7086437" y="2313604"/>
              <a:ext cx="1005840" cy="1661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Demand</a:t>
              </a:r>
            </a:p>
          </p:txBody>
        </p:sp>
        <p:sp>
          <p:nvSpPr>
            <p:cNvPr id="38" name="TextBox 37">
              <a:extLst>
                <a:ext uri="{FF2B5EF4-FFF2-40B4-BE49-F238E27FC236}">
                  <a16:creationId xmlns:a16="http://schemas.microsoft.com/office/drawing/2014/main" id="{0F8AC88D-86BB-8DC3-5AEE-3E26E5819F0E}"/>
                </a:ext>
              </a:extLst>
            </p:cNvPr>
            <p:cNvSpPr txBox="1"/>
            <p:nvPr/>
          </p:nvSpPr>
          <p:spPr>
            <a:xfrm>
              <a:off x="8213561" y="2313604"/>
              <a:ext cx="1005840" cy="166199"/>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Network</a:t>
              </a:r>
            </a:p>
          </p:txBody>
        </p:sp>
        <p:sp>
          <p:nvSpPr>
            <p:cNvPr id="39" name="TextBox 38">
              <a:extLst>
                <a:ext uri="{FF2B5EF4-FFF2-40B4-BE49-F238E27FC236}">
                  <a16:creationId xmlns:a16="http://schemas.microsoft.com/office/drawing/2014/main" id="{A50E5065-0990-59ED-DD57-AA15BBF8BF35}"/>
                </a:ext>
              </a:extLst>
            </p:cNvPr>
            <p:cNvSpPr txBox="1"/>
            <p:nvPr/>
          </p:nvSpPr>
          <p:spPr>
            <a:xfrm>
              <a:off x="2506731" y="2510958"/>
              <a:ext cx="1143000"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Self-Managed –</a:t>
              </a:r>
              <a:br>
                <a:rPr kumimoji="0" lang="en-US" sz="800" u="none" strike="noStrike" kern="1200" cap="none" spc="0" normalizeH="0" baseline="0" noProof="0">
                  <a:ln>
                    <a:noFill/>
                  </a:ln>
                  <a:solidFill>
                    <a:prstClr val="black"/>
                  </a:solidFill>
                  <a:effectLst/>
                  <a:uLnTx/>
                  <a:uFillTx/>
                  <a:latin typeface="MetricHPE Light" panose="020B0303030202060203" pitchFamily="34" charset="77"/>
                </a:rPr>
              </a:b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Third-Party Managed</a:t>
              </a:r>
            </a:p>
          </p:txBody>
        </p:sp>
        <p:sp>
          <p:nvSpPr>
            <p:cNvPr id="40" name="TextBox 39">
              <a:extLst>
                <a:ext uri="{FF2B5EF4-FFF2-40B4-BE49-F238E27FC236}">
                  <a16:creationId xmlns:a16="http://schemas.microsoft.com/office/drawing/2014/main" id="{874FDFD0-E9BC-E0F1-25FB-1C1C582E7E48}"/>
                </a:ext>
              </a:extLst>
            </p:cNvPr>
            <p:cNvSpPr txBox="1"/>
            <p:nvPr/>
          </p:nvSpPr>
          <p:spPr>
            <a:xfrm>
              <a:off x="3637001" y="2517113"/>
              <a:ext cx="114569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err="1">
                  <a:ln>
                    <a:noFill/>
                  </a:ln>
                  <a:solidFill>
                    <a:prstClr val="black"/>
                  </a:solidFill>
                  <a:effectLst/>
                  <a:uLnTx/>
                  <a:uFillTx/>
                  <a:latin typeface="MetricHPE Light" panose="020B0303030202060203" pitchFamily="34" charset="77"/>
                </a:rPr>
                <a:t>CapEx</a:t>
              </a: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 – </a:t>
              </a:r>
              <a:r>
                <a:rPr kumimoji="0" lang="en-US" sz="800" u="none" strike="noStrike" kern="1200" cap="none" spc="0" normalizeH="0" baseline="0" noProof="0" err="1">
                  <a:ln>
                    <a:noFill/>
                  </a:ln>
                  <a:solidFill>
                    <a:prstClr val="black"/>
                  </a:solidFill>
                  <a:effectLst/>
                  <a:uLnTx/>
                  <a:uFillTx/>
                  <a:latin typeface="MetricHPE Light" panose="020B0303030202060203" pitchFamily="34" charset="77"/>
                </a:rPr>
                <a:t>OpEx</a:t>
              </a:r>
              <a:endParaRPr kumimoji="0" lang="en-US" sz="800" u="none" strike="noStrike" kern="1200" cap="none" spc="0" normalizeH="0" baseline="0" noProof="0">
                <a:ln>
                  <a:noFill/>
                </a:ln>
                <a:solidFill>
                  <a:prstClr val="black"/>
                </a:solidFill>
                <a:effectLst/>
                <a:uLnTx/>
                <a:uFillTx/>
                <a:latin typeface="MetricHPE Light" panose="020B0303030202060203" pitchFamily="34" charset="77"/>
              </a:endParaRPr>
            </a:p>
          </p:txBody>
        </p:sp>
        <p:sp>
          <p:nvSpPr>
            <p:cNvPr id="41" name="TextBox 40">
              <a:extLst>
                <a:ext uri="{FF2B5EF4-FFF2-40B4-BE49-F238E27FC236}">
                  <a16:creationId xmlns:a16="http://schemas.microsoft.com/office/drawing/2014/main" id="{3537244A-5415-81FB-7B37-6EAC30CB5831}"/>
                </a:ext>
              </a:extLst>
            </p:cNvPr>
            <p:cNvSpPr txBox="1"/>
            <p:nvPr/>
          </p:nvSpPr>
          <p:spPr>
            <a:xfrm>
              <a:off x="4769961" y="2517113"/>
              <a:ext cx="114300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Incremental - Full Refresh</a:t>
              </a:r>
            </a:p>
          </p:txBody>
        </p:sp>
        <p:sp>
          <p:nvSpPr>
            <p:cNvPr id="42" name="TextBox 41">
              <a:extLst>
                <a:ext uri="{FF2B5EF4-FFF2-40B4-BE49-F238E27FC236}">
                  <a16:creationId xmlns:a16="http://schemas.microsoft.com/office/drawing/2014/main" id="{10E11925-4E2A-2BB1-34EE-0B324AAC0C61}"/>
                </a:ext>
              </a:extLst>
            </p:cNvPr>
            <p:cNvSpPr txBox="1"/>
            <p:nvPr/>
          </p:nvSpPr>
          <p:spPr>
            <a:xfrm>
              <a:off x="5900231" y="2517113"/>
              <a:ext cx="114300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On Prem - Cloud</a:t>
              </a:r>
            </a:p>
          </p:txBody>
        </p:sp>
        <p:sp>
          <p:nvSpPr>
            <p:cNvPr id="43" name="TextBox 42">
              <a:extLst>
                <a:ext uri="{FF2B5EF4-FFF2-40B4-BE49-F238E27FC236}">
                  <a16:creationId xmlns:a16="http://schemas.microsoft.com/office/drawing/2014/main" id="{8823AAB4-6FEB-9776-2BFE-69CF7BB65A6D}"/>
                </a:ext>
              </a:extLst>
            </p:cNvPr>
            <p:cNvSpPr txBox="1"/>
            <p:nvPr/>
          </p:nvSpPr>
          <p:spPr>
            <a:xfrm>
              <a:off x="7026802" y="2510958"/>
              <a:ext cx="1143000"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Consistent – </a:t>
              </a:r>
              <a:br>
                <a:rPr kumimoji="0" lang="en-US" sz="800" u="none" strike="noStrike" kern="1200" cap="none" spc="0" normalizeH="0" baseline="0" noProof="0">
                  <a:ln>
                    <a:noFill/>
                  </a:ln>
                  <a:solidFill>
                    <a:prstClr val="black"/>
                  </a:solidFill>
                  <a:effectLst/>
                  <a:uLnTx/>
                  <a:uFillTx/>
                  <a:latin typeface="MetricHPE Light" panose="020B0303030202060203" pitchFamily="34" charset="77"/>
                </a:rPr>
              </a:b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Peaks / Valleys</a:t>
              </a:r>
            </a:p>
          </p:txBody>
        </p:sp>
        <p:sp>
          <p:nvSpPr>
            <p:cNvPr id="44" name="TextBox 43">
              <a:extLst>
                <a:ext uri="{FF2B5EF4-FFF2-40B4-BE49-F238E27FC236}">
                  <a16:creationId xmlns:a16="http://schemas.microsoft.com/office/drawing/2014/main" id="{0C6A0E35-39CE-83D4-9A91-C5FA20726AFE}"/>
                </a:ext>
              </a:extLst>
            </p:cNvPr>
            <p:cNvSpPr txBox="1"/>
            <p:nvPr/>
          </p:nvSpPr>
          <p:spPr>
            <a:xfrm>
              <a:off x="8160769" y="2510958"/>
              <a:ext cx="1143000"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Cost – </a:t>
              </a:r>
              <a:br>
                <a:rPr kumimoji="0" lang="en-US" sz="800" u="none" strike="noStrike" kern="1200" cap="none" spc="0" normalizeH="0" baseline="0" noProof="0">
                  <a:ln>
                    <a:noFill/>
                  </a:ln>
                  <a:solidFill>
                    <a:prstClr val="black"/>
                  </a:solidFill>
                  <a:effectLst/>
                  <a:uLnTx/>
                  <a:uFillTx/>
                  <a:latin typeface="MetricHPE Light" panose="020B0303030202060203" pitchFamily="34" charset="77"/>
                </a:rPr>
              </a:b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Performance Focus</a:t>
              </a:r>
            </a:p>
          </p:txBody>
        </p:sp>
        <p:sp>
          <p:nvSpPr>
            <p:cNvPr id="45" name="TextBox 44">
              <a:extLst>
                <a:ext uri="{FF2B5EF4-FFF2-40B4-BE49-F238E27FC236}">
                  <a16:creationId xmlns:a16="http://schemas.microsoft.com/office/drawing/2014/main" id="{575351F8-37DB-F1FD-1269-2964AB97ADB9}"/>
                </a:ext>
              </a:extLst>
            </p:cNvPr>
            <p:cNvSpPr txBox="1"/>
            <p:nvPr/>
          </p:nvSpPr>
          <p:spPr>
            <a:xfrm>
              <a:off x="2553642" y="3433909"/>
              <a:ext cx="100584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Onboarding</a:t>
              </a:r>
            </a:p>
          </p:txBody>
        </p:sp>
        <p:sp>
          <p:nvSpPr>
            <p:cNvPr id="46" name="TextBox 45">
              <a:extLst>
                <a:ext uri="{FF2B5EF4-FFF2-40B4-BE49-F238E27FC236}">
                  <a16:creationId xmlns:a16="http://schemas.microsoft.com/office/drawing/2014/main" id="{5997765A-77DE-DDD3-05F1-FE66E66F68E1}"/>
                </a:ext>
              </a:extLst>
            </p:cNvPr>
            <p:cNvSpPr txBox="1"/>
            <p:nvPr/>
          </p:nvSpPr>
          <p:spPr>
            <a:xfrm>
              <a:off x="3676105" y="3433909"/>
              <a:ext cx="100584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Provisioning</a:t>
              </a:r>
            </a:p>
          </p:txBody>
        </p:sp>
        <p:sp>
          <p:nvSpPr>
            <p:cNvPr id="47" name="TextBox 46">
              <a:extLst>
                <a:ext uri="{FF2B5EF4-FFF2-40B4-BE49-F238E27FC236}">
                  <a16:creationId xmlns:a16="http://schemas.microsoft.com/office/drawing/2014/main" id="{49CF05D5-1131-F7B5-0F74-7482A3A8FDBF}"/>
                </a:ext>
              </a:extLst>
            </p:cNvPr>
            <p:cNvSpPr txBox="1"/>
            <p:nvPr/>
          </p:nvSpPr>
          <p:spPr>
            <a:xfrm>
              <a:off x="4813088" y="3461610"/>
              <a:ext cx="1005840" cy="221599"/>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Management &amp; Orchestration</a:t>
              </a:r>
            </a:p>
          </p:txBody>
        </p:sp>
        <p:sp>
          <p:nvSpPr>
            <p:cNvPr id="48" name="TextBox 47">
              <a:extLst>
                <a:ext uri="{FF2B5EF4-FFF2-40B4-BE49-F238E27FC236}">
                  <a16:creationId xmlns:a16="http://schemas.microsoft.com/office/drawing/2014/main" id="{F8182768-D50C-348F-3385-021280634B76}"/>
                </a:ext>
              </a:extLst>
            </p:cNvPr>
            <p:cNvSpPr txBox="1"/>
            <p:nvPr/>
          </p:nvSpPr>
          <p:spPr>
            <a:xfrm>
              <a:off x="5984247" y="3461610"/>
              <a:ext cx="1005840" cy="221599"/>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err="1">
                  <a:ln>
                    <a:noFill/>
                  </a:ln>
                  <a:solidFill>
                    <a:prstClr val="black"/>
                  </a:solidFill>
                  <a:effectLst/>
                  <a:uLnTx/>
                  <a:uFillTx/>
                  <a:latin typeface="MetricHPE Light" panose="020B0303030202060203" pitchFamily="34" charset="77"/>
                </a:rPr>
                <a:t>AIOps</a:t>
              </a: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 &am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Troubleshooting</a:t>
              </a:r>
            </a:p>
          </p:txBody>
        </p:sp>
        <p:sp>
          <p:nvSpPr>
            <p:cNvPr id="49" name="TextBox 48">
              <a:extLst>
                <a:ext uri="{FF2B5EF4-FFF2-40B4-BE49-F238E27FC236}">
                  <a16:creationId xmlns:a16="http://schemas.microsoft.com/office/drawing/2014/main" id="{BA3CB7DA-2578-B270-3871-BF01A567D1CE}"/>
                </a:ext>
              </a:extLst>
            </p:cNvPr>
            <p:cNvSpPr txBox="1"/>
            <p:nvPr/>
          </p:nvSpPr>
          <p:spPr>
            <a:xfrm>
              <a:off x="7087054" y="3461610"/>
              <a:ext cx="1005840" cy="221599"/>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Analytics &am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Optimization</a:t>
              </a:r>
            </a:p>
          </p:txBody>
        </p:sp>
        <p:sp>
          <p:nvSpPr>
            <p:cNvPr id="50" name="TextBox 49">
              <a:extLst>
                <a:ext uri="{FF2B5EF4-FFF2-40B4-BE49-F238E27FC236}">
                  <a16:creationId xmlns:a16="http://schemas.microsoft.com/office/drawing/2014/main" id="{480BE268-5959-F38C-647A-46FCA2C8EFF8}"/>
                </a:ext>
              </a:extLst>
            </p:cNvPr>
            <p:cNvSpPr txBox="1"/>
            <p:nvPr/>
          </p:nvSpPr>
          <p:spPr>
            <a:xfrm>
              <a:off x="8224036" y="3433909"/>
              <a:ext cx="100584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Location</a:t>
              </a:r>
            </a:p>
          </p:txBody>
        </p:sp>
        <p:sp>
          <p:nvSpPr>
            <p:cNvPr id="51" name="TextBox 50">
              <a:extLst>
                <a:ext uri="{FF2B5EF4-FFF2-40B4-BE49-F238E27FC236}">
                  <a16:creationId xmlns:a16="http://schemas.microsoft.com/office/drawing/2014/main" id="{4C3D0D72-DBCD-B23A-CE8E-DE23485F39B3}"/>
                </a:ext>
              </a:extLst>
            </p:cNvPr>
            <p:cNvSpPr txBox="1"/>
            <p:nvPr/>
          </p:nvSpPr>
          <p:spPr>
            <a:xfrm>
              <a:off x="2554281" y="4492504"/>
              <a:ext cx="1005840" cy="110800"/>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Visibility</a:t>
              </a:r>
            </a:p>
          </p:txBody>
        </p:sp>
        <p:sp>
          <p:nvSpPr>
            <p:cNvPr id="52" name="TextBox 51">
              <a:extLst>
                <a:ext uri="{FF2B5EF4-FFF2-40B4-BE49-F238E27FC236}">
                  <a16:creationId xmlns:a16="http://schemas.microsoft.com/office/drawing/2014/main" id="{64E3D81A-C244-3DE0-E79A-68BA79CD38CC}"/>
                </a:ext>
              </a:extLst>
            </p:cNvPr>
            <p:cNvSpPr txBox="1"/>
            <p:nvPr/>
          </p:nvSpPr>
          <p:spPr>
            <a:xfrm>
              <a:off x="3662256" y="4492504"/>
              <a:ext cx="1106424"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Authentication &amp; Authorization</a:t>
              </a:r>
            </a:p>
          </p:txBody>
        </p:sp>
        <p:sp>
          <p:nvSpPr>
            <p:cNvPr id="53" name="TextBox 52">
              <a:extLst>
                <a:ext uri="{FF2B5EF4-FFF2-40B4-BE49-F238E27FC236}">
                  <a16:creationId xmlns:a16="http://schemas.microsoft.com/office/drawing/2014/main" id="{655568BA-CF12-8083-7F5D-B287F8E34E14}"/>
                </a:ext>
              </a:extLst>
            </p:cNvPr>
            <p:cNvSpPr txBox="1"/>
            <p:nvPr/>
          </p:nvSpPr>
          <p:spPr>
            <a:xfrm>
              <a:off x="4837801" y="4492504"/>
              <a:ext cx="1005840"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Dynamic Segmentation</a:t>
              </a:r>
            </a:p>
          </p:txBody>
        </p:sp>
        <p:sp>
          <p:nvSpPr>
            <p:cNvPr id="54" name="TextBox 53">
              <a:extLst>
                <a:ext uri="{FF2B5EF4-FFF2-40B4-BE49-F238E27FC236}">
                  <a16:creationId xmlns:a16="http://schemas.microsoft.com/office/drawing/2014/main" id="{58FF1C73-3E59-A12A-77E3-4FC576A160FE}"/>
                </a:ext>
              </a:extLst>
            </p:cNvPr>
            <p:cNvSpPr txBox="1"/>
            <p:nvPr/>
          </p:nvSpPr>
          <p:spPr>
            <a:xfrm>
              <a:off x="5971067" y="4492504"/>
              <a:ext cx="1005840" cy="221599"/>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Continuous Monitoring</a:t>
              </a:r>
            </a:p>
          </p:txBody>
        </p:sp>
        <p:sp>
          <p:nvSpPr>
            <p:cNvPr id="55" name="TextBox 54">
              <a:extLst>
                <a:ext uri="{FF2B5EF4-FFF2-40B4-BE49-F238E27FC236}">
                  <a16:creationId xmlns:a16="http://schemas.microsoft.com/office/drawing/2014/main" id="{9FE73BAC-0729-E6CA-8BA2-C972013035AD}"/>
                </a:ext>
              </a:extLst>
            </p:cNvPr>
            <p:cNvSpPr txBox="1"/>
            <p:nvPr/>
          </p:nvSpPr>
          <p:spPr>
            <a:xfrm>
              <a:off x="7088307" y="4492504"/>
              <a:ext cx="1005840" cy="110800"/>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Zero Trust</a:t>
              </a:r>
            </a:p>
          </p:txBody>
        </p:sp>
        <p:sp>
          <p:nvSpPr>
            <p:cNvPr id="56" name="TextBox 55">
              <a:extLst>
                <a:ext uri="{FF2B5EF4-FFF2-40B4-BE49-F238E27FC236}">
                  <a16:creationId xmlns:a16="http://schemas.microsoft.com/office/drawing/2014/main" id="{5F891A1B-5859-5926-AE32-F857AFA49455}"/>
                </a:ext>
              </a:extLst>
            </p:cNvPr>
            <p:cNvSpPr txBox="1"/>
            <p:nvPr/>
          </p:nvSpPr>
          <p:spPr>
            <a:xfrm>
              <a:off x="8213561" y="4492504"/>
              <a:ext cx="1005840" cy="110800"/>
            </a:xfrm>
            <a:prstGeom prst="rect">
              <a:avLst/>
            </a:prstGeom>
            <a:noFill/>
            <a:ln w="57150">
              <a:noFill/>
              <a:miter lim="800000"/>
            </a:ln>
          </p:spPr>
          <p:txBody>
            <a:bodyPr wrap="square" lIns="0" tIns="0" rIns="0" bIns="0" rtlCol="0" anchor="t"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SASE</a:t>
              </a:r>
            </a:p>
          </p:txBody>
        </p:sp>
        <p:sp>
          <p:nvSpPr>
            <p:cNvPr id="57" name="TextBox 56">
              <a:extLst>
                <a:ext uri="{FF2B5EF4-FFF2-40B4-BE49-F238E27FC236}">
                  <a16:creationId xmlns:a16="http://schemas.microsoft.com/office/drawing/2014/main" id="{93176E9D-E811-06DF-2666-9671977CF35A}"/>
                </a:ext>
              </a:extLst>
            </p:cNvPr>
            <p:cNvSpPr txBox="1"/>
            <p:nvPr/>
          </p:nvSpPr>
          <p:spPr>
            <a:xfrm>
              <a:off x="2826053" y="5596421"/>
              <a:ext cx="100584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Wireless</a:t>
              </a:r>
            </a:p>
          </p:txBody>
        </p:sp>
        <p:sp>
          <p:nvSpPr>
            <p:cNvPr id="58" name="TextBox 57">
              <a:extLst>
                <a:ext uri="{FF2B5EF4-FFF2-40B4-BE49-F238E27FC236}">
                  <a16:creationId xmlns:a16="http://schemas.microsoft.com/office/drawing/2014/main" id="{71893762-A6DC-6A75-1223-41506DDD704F}"/>
                </a:ext>
              </a:extLst>
            </p:cNvPr>
            <p:cNvSpPr txBox="1"/>
            <p:nvPr/>
          </p:nvSpPr>
          <p:spPr>
            <a:xfrm>
              <a:off x="4070654" y="5597960"/>
              <a:ext cx="1005840" cy="123111"/>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Wired</a:t>
              </a:r>
            </a:p>
          </p:txBody>
        </p:sp>
        <p:sp>
          <p:nvSpPr>
            <p:cNvPr id="59" name="TextBox 58">
              <a:extLst>
                <a:ext uri="{FF2B5EF4-FFF2-40B4-BE49-F238E27FC236}">
                  <a16:creationId xmlns:a16="http://schemas.microsoft.com/office/drawing/2014/main" id="{33354663-007A-F4AD-4B8C-6203C669FB8A}"/>
                </a:ext>
              </a:extLst>
            </p:cNvPr>
            <p:cNvSpPr txBox="1"/>
            <p:nvPr/>
          </p:nvSpPr>
          <p:spPr>
            <a:xfrm>
              <a:off x="5316008" y="5597960"/>
              <a:ext cx="1005840" cy="123111"/>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SD-WAN</a:t>
              </a:r>
            </a:p>
          </p:txBody>
        </p:sp>
        <p:sp>
          <p:nvSpPr>
            <p:cNvPr id="60" name="TextBox 59">
              <a:extLst>
                <a:ext uri="{FF2B5EF4-FFF2-40B4-BE49-F238E27FC236}">
                  <a16:creationId xmlns:a16="http://schemas.microsoft.com/office/drawing/2014/main" id="{AF1151EB-0A64-EC87-B51B-3E949BAF4DD1}"/>
                </a:ext>
              </a:extLst>
            </p:cNvPr>
            <p:cNvSpPr txBox="1"/>
            <p:nvPr/>
          </p:nvSpPr>
          <p:spPr>
            <a:xfrm>
              <a:off x="6622690" y="5597960"/>
              <a:ext cx="1005840" cy="123111"/>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5G</a:t>
              </a:r>
            </a:p>
          </p:txBody>
        </p:sp>
        <p:sp>
          <p:nvSpPr>
            <p:cNvPr id="61" name="TextBox 60">
              <a:extLst>
                <a:ext uri="{FF2B5EF4-FFF2-40B4-BE49-F238E27FC236}">
                  <a16:creationId xmlns:a16="http://schemas.microsoft.com/office/drawing/2014/main" id="{FA1DD9D4-46F9-C56E-1F1E-9C837C8B5FE7}"/>
                </a:ext>
              </a:extLst>
            </p:cNvPr>
            <p:cNvSpPr txBox="1"/>
            <p:nvPr/>
          </p:nvSpPr>
          <p:spPr>
            <a:xfrm>
              <a:off x="7946454" y="5596421"/>
              <a:ext cx="1005840" cy="110800"/>
            </a:xfrm>
            <a:prstGeom prst="rect">
              <a:avLst/>
            </a:prstGeom>
            <a:noFill/>
            <a:ln w="57150">
              <a:noFill/>
              <a:miter lim="800000"/>
            </a:ln>
          </p:spPr>
          <p:txBody>
            <a:bodyPr wrap="square" lIns="0" tIns="0" rIns="0" bIns="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800" u="none" strike="noStrike" kern="1200" cap="none" spc="0" normalizeH="0" baseline="0" noProof="0">
                  <a:ln>
                    <a:noFill/>
                  </a:ln>
                  <a:solidFill>
                    <a:prstClr val="black"/>
                  </a:solidFill>
                  <a:effectLst/>
                  <a:uLnTx/>
                  <a:uFillTx/>
                  <a:latin typeface="MetricHPE Light" panose="020B0303030202060203" pitchFamily="34" charset="77"/>
                </a:rPr>
                <a:t>IoT</a:t>
              </a:r>
            </a:p>
          </p:txBody>
        </p:sp>
        <p:pic>
          <p:nvPicPr>
            <p:cNvPr id="62" name="Graphic 61">
              <a:extLst>
                <a:ext uri="{FF2B5EF4-FFF2-40B4-BE49-F238E27FC236}">
                  <a16:creationId xmlns:a16="http://schemas.microsoft.com/office/drawing/2014/main" id="{ED8A3C80-AEEE-9DC1-4B53-49FAC4A0A4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24839" y="1068953"/>
              <a:ext cx="206149" cy="173165"/>
            </a:xfrm>
            <a:prstGeom prst="rect">
              <a:avLst/>
            </a:prstGeom>
          </p:spPr>
        </p:pic>
        <p:pic>
          <p:nvPicPr>
            <p:cNvPr id="63" name="Graphic 62">
              <a:extLst>
                <a:ext uri="{FF2B5EF4-FFF2-40B4-BE49-F238E27FC236}">
                  <a16:creationId xmlns:a16="http://schemas.microsoft.com/office/drawing/2014/main" id="{0DA977C2-24AC-436A-DCC2-A3B69F244E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87875" y="1048338"/>
              <a:ext cx="189657" cy="214395"/>
            </a:xfrm>
            <a:prstGeom prst="rect">
              <a:avLst/>
            </a:prstGeom>
          </p:spPr>
        </p:pic>
        <p:pic>
          <p:nvPicPr>
            <p:cNvPr id="64" name="Graphic 63">
              <a:extLst>
                <a:ext uri="{FF2B5EF4-FFF2-40B4-BE49-F238E27FC236}">
                  <a16:creationId xmlns:a16="http://schemas.microsoft.com/office/drawing/2014/main" id="{0691C11A-AD4E-65A7-D409-EF2318AC986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34419" y="1073076"/>
              <a:ext cx="222641" cy="164919"/>
            </a:xfrm>
            <a:prstGeom prst="rect">
              <a:avLst/>
            </a:prstGeom>
          </p:spPr>
        </p:pic>
        <p:pic>
          <p:nvPicPr>
            <p:cNvPr id="66" name="Graphic 65">
              <a:extLst>
                <a:ext uri="{FF2B5EF4-FFF2-40B4-BE49-F238E27FC236}">
                  <a16:creationId xmlns:a16="http://schemas.microsoft.com/office/drawing/2014/main" id="{86255F22-8322-781F-E3D6-EA2DDF7EEE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11015" y="1044215"/>
              <a:ext cx="222641" cy="222641"/>
            </a:xfrm>
            <a:prstGeom prst="rect">
              <a:avLst/>
            </a:prstGeom>
          </p:spPr>
        </p:pic>
        <p:pic>
          <p:nvPicPr>
            <p:cNvPr id="67" name="Graphic 66">
              <a:extLst>
                <a:ext uri="{FF2B5EF4-FFF2-40B4-BE49-F238E27FC236}">
                  <a16:creationId xmlns:a16="http://schemas.microsoft.com/office/drawing/2014/main" id="{4B0E3E9E-2025-7D88-1868-16A8096D585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928291" y="2009568"/>
              <a:ext cx="272117" cy="263871"/>
            </a:xfrm>
            <a:prstGeom prst="rect">
              <a:avLst/>
            </a:prstGeom>
          </p:spPr>
        </p:pic>
        <p:pic>
          <p:nvPicPr>
            <p:cNvPr id="68" name="Graphic 67">
              <a:extLst>
                <a:ext uri="{FF2B5EF4-FFF2-40B4-BE49-F238E27FC236}">
                  <a16:creationId xmlns:a16="http://schemas.microsoft.com/office/drawing/2014/main" id="{3284CF50-251E-61EE-C4EF-4F85E3A9F4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117452" y="2030183"/>
              <a:ext cx="222641" cy="222641"/>
            </a:xfrm>
            <a:prstGeom prst="rect">
              <a:avLst/>
            </a:prstGeom>
          </p:spPr>
        </p:pic>
        <p:pic>
          <p:nvPicPr>
            <p:cNvPr id="69" name="Graphic 68">
              <a:extLst>
                <a:ext uri="{FF2B5EF4-FFF2-40B4-BE49-F238E27FC236}">
                  <a16:creationId xmlns:a16="http://schemas.microsoft.com/office/drawing/2014/main" id="{F2C94A76-243C-07B4-D01D-8FDBF9D4E04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257137" y="2030183"/>
              <a:ext cx="222641" cy="222641"/>
            </a:xfrm>
            <a:prstGeom prst="rect">
              <a:avLst/>
            </a:prstGeom>
          </p:spPr>
        </p:pic>
        <p:pic>
          <p:nvPicPr>
            <p:cNvPr id="70" name="Graphic 69">
              <a:extLst>
                <a:ext uri="{FF2B5EF4-FFF2-40B4-BE49-F238E27FC236}">
                  <a16:creationId xmlns:a16="http://schemas.microsoft.com/office/drawing/2014/main" id="{90F8D49B-98C8-14AB-98CA-0A351DA133A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519796" y="2030183"/>
              <a:ext cx="131935" cy="222641"/>
            </a:xfrm>
            <a:prstGeom prst="rect">
              <a:avLst/>
            </a:prstGeom>
          </p:spPr>
        </p:pic>
        <p:pic>
          <p:nvPicPr>
            <p:cNvPr id="71" name="Graphic 70">
              <a:extLst>
                <a:ext uri="{FF2B5EF4-FFF2-40B4-BE49-F238E27FC236}">
                  <a16:creationId xmlns:a16="http://schemas.microsoft.com/office/drawing/2014/main" id="{97AE2D12-4EA3-8A85-5CDE-95C4056565D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325178" y="2017814"/>
              <a:ext cx="255625" cy="247379"/>
            </a:xfrm>
            <a:prstGeom prst="rect">
              <a:avLst/>
            </a:prstGeom>
          </p:spPr>
        </p:pic>
        <p:pic>
          <p:nvPicPr>
            <p:cNvPr id="72" name="Graphic 71">
              <a:extLst>
                <a:ext uri="{FF2B5EF4-FFF2-40B4-BE49-F238E27FC236}">
                  <a16:creationId xmlns:a16="http://schemas.microsoft.com/office/drawing/2014/main" id="{6FEF0D79-E402-79D2-F628-1E064E0DE9C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618472" y="2030183"/>
              <a:ext cx="222641" cy="222641"/>
            </a:xfrm>
            <a:prstGeom prst="rect">
              <a:avLst/>
            </a:prstGeom>
          </p:spPr>
        </p:pic>
        <p:pic>
          <p:nvPicPr>
            <p:cNvPr id="73" name="Graphic 72">
              <a:extLst>
                <a:ext uri="{FF2B5EF4-FFF2-40B4-BE49-F238E27FC236}">
                  <a16:creationId xmlns:a16="http://schemas.microsoft.com/office/drawing/2014/main" id="{CF2CC6AF-8DB0-C769-3848-891A8550E50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877317" y="3149697"/>
              <a:ext cx="338084" cy="214395"/>
            </a:xfrm>
            <a:prstGeom prst="rect">
              <a:avLst/>
            </a:prstGeom>
          </p:spPr>
        </p:pic>
        <p:pic>
          <p:nvPicPr>
            <p:cNvPr id="74" name="Graphic 73">
              <a:extLst>
                <a:ext uri="{FF2B5EF4-FFF2-40B4-BE49-F238E27FC236}">
                  <a16:creationId xmlns:a16="http://schemas.microsoft.com/office/drawing/2014/main" id="{E7D781A4-4D5E-E414-D0F9-DA7C932D0FB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4034720" y="3137681"/>
              <a:ext cx="288609" cy="222641"/>
            </a:xfrm>
            <a:prstGeom prst="rect">
              <a:avLst/>
            </a:prstGeom>
          </p:spPr>
        </p:pic>
        <p:pic>
          <p:nvPicPr>
            <p:cNvPr id="75" name="Graphic 74">
              <a:extLst>
                <a:ext uri="{FF2B5EF4-FFF2-40B4-BE49-F238E27FC236}">
                  <a16:creationId xmlns:a16="http://schemas.microsoft.com/office/drawing/2014/main" id="{7C6762FB-4B9F-9D03-7E99-5A44710192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202013" y="3112943"/>
              <a:ext cx="272117" cy="272117"/>
            </a:xfrm>
            <a:prstGeom prst="rect">
              <a:avLst/>
            </a:prstGeom>
          </p:spPr>
        </p:pic>
        <p:pic>
          <p:nvPicPr>
            <p:cNvPr id="76" name="Graphic 75">
              <a:extLst>
                <a:ext uri="{FF2B5EF4-FFF2-40B4-BE49-F238E27FC236}">
                  <a16:creationId xmlns:a16="http://schemas.microsoft.com/office/drawing/2014/main" id="{F75D4A88-256F-E1F2-8F78-CFB460D7667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6345357" y="3121189"/>
              <a:ext cx="247379" cy="255625"/>
            </a:xfrm>
            <a:prstGeom prst="rect">
              <a:avLst/>
            </a:prstGeom>
          </p:spPr>
        </p:pic>
        <p:pic>
          <p:nvPicPr>
            <p:cNvPr id="77" name="Graphic 76">
              <a:extLst>
                <a:ext uri="{FF2B5EF4-FFF2-40B4-BE49-F238E27FC236}">
                  <a16:creationId xmlns:a16="http://schemas.microsoft.com/office/drawing/2014/main" id="{D0E8D973-286D-D31C-3259-67AC45CEE9B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512365" y="3137681"/>
              <a:ext cx="131935" cy="222641"/>
            </a:xfrm>
            <a:prstGeom prst="rect">
              <a:avLst/>
            </a:prstGeom>
          </p:spPr>
        </p:pic>
        <p:pic>
          <p:nvPicPr>
            <p:cNvPr id="78" name="Graphic 77">
              <a:extLst>
                <a:ext uri="{FF2B5EF4-FFF2-40B4-BE49-F238E27FC236}">
                  <a16:creationId xmlns:a16="http://schemas.microsoft.com/office/drawing/2014/main" id="{7C26EC49-5779-C58E-40B0-C162C016D5B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629898" y="3125312"/>
              <a:ext cx="173165" cy="247379"/>
            </a:xfrm>
            <a:prstGeom prst="rect">
              <a:avLst/>
            </a:prstGeom>
          </p:spPr>
        </p:pic>
        <p:pic>
          <p:nvPicPr>
            <p:cNvPr id="79" name="Graphic 78">
              <a:extLst>
                <a:ext uri="{FF2B5EF4-FFF2-40B4-BE49-F238E27FC236}">
                  <a16:creationId xmlns:a16="http://schemas.microsoft.com/office/drawing/2014/main" id="{B2BAFB8F-A38D-691D-373D-68DDB3BF92A2}"/>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2936536" y="4189330"/>
              <a:ext cx="255625" cy="255625"/>
            </a:xfrm>
            <a:prstGeom prst="rect">
              <a:avLst/>
            </a:prstGeom>
          </p:spPr>
        </p:pic>
        <p:pic>
          <p:nvPicPr>
            <p:cNvPr id="80" name="Graphic 79">
              <a:extLst>
                <a:ext uri="{FF2B5EF4-FFF2-40B4-BE49-F238E27FC236}">
                  <a16:creationId xmlns:a16="http://schemas.microsoft.com/office/drawing/2014/main" id="{FF48E2CB-5C07-BED9-3BA8-69DD18A87E0F}"/>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4022260" y="4201699"/>
              <a:ext cx="371068" cy="230887"/>
            </a:xfrm>
            <a:prstGeom prst="rect">
              <a:avLst/>
            </a:prstGeom>
          </p:spPr>
        </p:pic>
        <p:pic>
          <p:nvPicPr>
            <p:cNvPr id="81" name="Graphic 80">
              <a:extLst>
                <a:ext uri="{FF2B5EF4-FFF2-40B4-BE49-F238E27FC236}">
                  <a16:creationId xmlns:a16="http://schemas.microsoft.com/office/drawing/2014/main" id="{A7B9177C-0F43-7F97-ADD5-4902AECF306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102472" y="4193453"/>
              <a:ext cx="544234" cy="247379"/>
            </a:xfrm>
            <a:prstGeom prst="rect">
              <a:avLst/>
            </a:prstGeom>
          </p:spPr>
        </p:pic>
        <p:pic>
          <p:nvPicPr>
            <p:cNvPr id="82" name="Graphic 81">
              <a:extLst>
                <a:ext uri="{FF2B5EF4-FFF2-40B4-BE49-F238E27FC236}">
                  <a16:creationId xmlns:a16="http://schemas.microsoft.com/office/drawing/2014/main" id="{8233468C-504A-3547-512A-A681DC6230B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295880" y="4193453"/>
              <a:ext cx="346331" cy="247379"/>
            </a:xfrm>
            <a:prstGeom prst="rect">
              <a:avLst/>
            </a:prstGeom>
          </p:spPr>
        </p:pic>
        <p:pic>
          <p:nvPicPr>
            <p:cNvPr id="83" name="Graphic 82">
              <a:extLst>
                <a:ext uri="{FF2B5EF4-FFF2-40B4-BE49-F238E27FC236}">
                  <a16:creationId xmlns:a16="http://schemas.microsoft.com/office/drawing/2014/main" id="{5BF99FAA-DC6E-40A9-8D0E-30FBDFC064F2}"/>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7396325" y="4193453"/>
              <a:ext cx="346331" cy="247379"/>
            </a:xfrm>
            <a:prstGeom prst="rect">
              <a:avLst/>
            </a:prstGeom>
          </p:spPr>
        </p:pic>
        <p:pic>
          <p:nvPicPr>
            <p:cNvPr id="84" name="Graphic 83">
              <a:extLst>
                <a:ext uri="{FF2B5EF4-FFF2-40B4-BE49-F238E27FC236}">
                  <a16:creationId xmlns:a16="http://schemas.microsoft.com/office/drawing/2014/main" id="{4ECB1F12-C04B-F668-FC19-0ACD518DFF2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8576298" y="4185207"/>
              <a:ext cx="280363" cy="263871"/>
            </a:xfrm>
            <a:prstGeom prst="rect">
              <a:avLst/>
            </a:prstGeom>
          </p:spPr>
        </p:pic>
        <p:pic>
          <p:nvPicPr>
            <p:cNvPr id="85" name="Graphic 84">
              <a:extLst>
                <a:ext uri="{FF2B5EF4-FFF2-40B4-BE49-F238E27FC236}">
                  <a16:creationId xmlns:a16="http://schemas.microsoft.com/office/drawing/2014/main" id="{34D4151A-E514-04F3-A529-C0703D6DEAD2}"/>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3209287" y="5298350"/>
              <a:ext cx="247379" cy="197903"/>
            </a:xfrm>
            <a:prstGeom prst="rect">
              <a:avLst/>
            </a:prstGeom>
          </p:spPr>
        </p:pic>
        <p:pic>
          <p:nvPicPr>
            <p:cNvPr id="86" name="Graphic 85">
              <a:extLst>
                <a:ext uri="{FF2B5EF4-FFF2-40B4-BE49-F238E27FC236}">
                  <a16:creationId xmlns:a16="http://schemas.microsoft.com/office/drawing/2014/main" id="{E0857F5B-B3B9-0D93-D35A-0789F6A42004}"/>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4472124" y="5273612"/>
              <a:ext cx="197903" cy="247379"/>
            </a:xfrm>
            <a:prstGeom prst="rect">
              <a:avLst/>
            </a:prstGeom>
          </p:spPr>
        </p:pic>
        <p:pic>
          <p:nvPicPr>
            <p:cNvPr id="87" name="Graphic 86">
              <a:extLst>
                <a:ext uri="{FF2B5EF4-FFF2-40B4-BE49-F238E27FC236}">
                  <a16:creationId xmlns:a16="http://schemas.microsoft.com/office/drawing/2014/main" id="{FCBD1903-B1CB-B869-3060-B12088EC5C63}"/>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685485" y="5277735"/>
              <a:ext cx="239133" cy="239133"/>
            </a:xfrm>
            <a:prstGeom prst="rect">
              <a:avLst/>
            </a:prstGeom>
          </p:spPr>
        </p:pic>
        <p:pic>
          <p:nvPicPr>
            <p:cNvPr id="88" name="Graphic 87">
              <a:extLst>
                <a:ext uri="{FF2B5EF4-FFF2-40B4-BE49-F238E27FC236}">
                  <a16:creationId xmlns:a16="http://schemas.microsoft.com/office/drawing/2014/main" id="{F23E4F45-CE2C-085D-11BE-F93662E2BED9}"/>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6940076" y="5236505"/>
              <a:ext cx="371069" cy="321593"/>
            </a:xfrm>
            <a:prstGeom prst="rect">
              <a:avLst/>
            </a:prstGeom>
          </p:spPr>
        </p:pic>
        <p:pic>
          <p:nvPicPr>
            <p:cNvPr id="89" name="Graphic 88">
              <a:extLst>
                <a:ext uri="{FF2B5EF4-FFF2-40B4-BE49-F238E27FC236}">
                  <a16:creationId xmlns:a16="http://schemas.microsoft.com/office/drawing/2014/main" id="{AD9661A5-245F-3FEE-4B89-7C6D2B158C93}"/>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8326602" y="5285981"/>
              <a:ext cx="222641" cy="222641"/>
            </a:xfrm>
            <a:prstGeom prst="rect">
              <a:avLst/>
            </a:prstGeom>
          </p:spPr>
        </p:pic>
      </p:grpSp>
      <p:pic>
        <p:nvPicPr>
          <p:cNvPr id="2" name="Picture 1">
            <a:extLst>
              <a:ext uri="{FF2B5EF4-FFF2-40B4-BE49-F238E27FC236}">
                <a16:creationId xmlns:a16="http://schemas.microsoft.com/office/drawing/2014/main" id="{EAF88F0A-3F9B-5A15-B8B2-35B773918D42}"/>
              </a:ext>
            </a:extLst>
          </p:cNvPr>
          <p:cNvPicPr>
            <a:picLocks noChangeAspect="1"/>
          </p:cNvPicPr>
          <p:nvPr/>
        </p:nvPicPr>
        <p:blipFill rotWithShape="1">
          <a:blip r:embed="rId61" cstate="print">
            <a:extLst>
              <a:ext uri="{28A0092B-C50C-407E-A947-70E740481C1C}">
                <a14:useLocalDpi xmlns:a14="http://schemas.microsoft.com/office/drawing/2010/main" val="0"/>
              </a:ext>
            </a:extLst>
          </a:blip>
          <a:srcRect b="5607"/>
          <a:stretch/>
        </p:blipFill>
        <p:spPr>
          <a:xfrm>
            <a:off x="8572630" y="1030175"/>
            <a:ext cx="529510" cy="272094"/>
          </a:xfrm>
          <a:prstGeom prst="rect">
            <a:avLst/>
          </a:prstGeom>
        </p:spPr>
      </p:pic>
      <p:sp>
        <p:nvSpPr>
          <p:cNvPr id="4" name="TextBox 3">
            <a:extLst>
              <a:ext uri="{FF2B5EF4-FFF2-40B4-BE49-F238E27FC236}">
                <a16:creationId xmlns:a16="http://schemas.microsoft.com/office/drawing/2014/main" id="{4DB8BD2C-FA1A-5CF1-AB9A-2A57B735AE7B}"/>
              </a:ext>
            </a:extLst>
          </p:cNvPr>
          <p:cNvSpPr txBox="1"/>
          <p:nvPr/>
        </p:nvSpPr>
        <p:spPr>
          <a:xfrm flipH="1">
            <a:off x="180428" y="1878871"/>
            <a:ext cx="2818395" cy="3372713"/>
          </a:xfrm>
          <a:prstGeom prst="rect">
            <a:avLst/>
          </a:prstGeom>
          <a:noFill/>
          <a:ln w="57150">
            <a:noFill/>
            <a:miter lim="800000"/>
          </a:ln>
        </p:spPr>
        <p:txBody>
          <a:bodyPr wrap="none" lIns="90000" tIns="90000" rIns="90000" bIns="90000" rtlCol="0" anchor="ctr" anchorCtr="0">
            <a:noAutofit/>
          </a:bodyPr>
          <a:lstStyle/>
          <a:p>
            <a:pPr marL="285750" indent="-285750">
              <a:lnSpc>
                <a:spcPct val="90000"/>
              </a:lnSpc>
              <a:spcBef>
                <a:spcPts val="400"/>
              </a:spcBef>
              <a:buFont typeface="Arial" panose="020B0604020202020204" pitchFamily="34" charset="0"/>
              <a:buChar char="•"/>
            </a:pPr>
            <a:r>
              <a:rPr lang="pl-PL" sz="1600" b="1" dirty="0">
                <a:solidFill>
                  <a:srgbClr val="32DAC8"/>
                </a:solidFill>
              </a:rPr>
              <a:t>Z</a:t>
            </a:r>
            <a:r>
              <a:rPr lang="en-GB" sz="1600" b="1" dirty="0" err="1">
                <a:solidFill>
                  <a:srgbClr val="32DAC8"/>
                </a:solidFill>
              </a:rPr>
              <a:t>asady</a:t>
            </a:r>
            <a:r>
              <a:rPr lang="en-GB" sz="1600" b="1" dirty="0">
                <a:solidFill>
                  <a:srgbClr val="32DAC8"/>
                </a:solidFill>
              </a:rPr>
              <a:t> </a:t>
            </a:r>
            <a:r>
              <a:rPr lang="en-GB" sz="1600" b="1" dirty="0" err="1">
                <a:solidFill>
                  <a:srgbClr val="32DAC8"/>
                </a:solidFill>
              </a:rPr>
              <a:t>zerowego</a:t>
            </a:r>
            <a:r>
              <a:rPr lang="en-GB" sz="1600" b="1" dirty="0">
                <a:solidFill>
                  <a:srgbClr val="32DAC8"/>
                </a:solidFill>
              </a:rPr>
              <a:t> </a:t>
            </a:r>
            <a:r>
              <a:rPr lang="en-GB" sz="1600" b="1" dirty="0" err="1">
                <a:solidFill>
                  <a:srgbClr val="32DAC8"/>
                </a:solidFill>
              </a:rPr>
              <a:t>zaufania</a:t>
            </a:r>
            <a:endParaRPr lang="en-GB" sz="1600" b="1" dirty="0">
              <a:solidFill>
                <a:srgbClr val="32DAC8"/>
              </a:solidFill>
            </a:endParaRPr>
          </a:p>
          <a:p>
            <a:pPr>
              <a:lnSpc>
                <a:spcPct val="90000"/>
              </a:lnSpc>
              <a:spcBef>
                <a:spcPts val="400"/>
              </a:spcBef>
            </a:pPr>
            <a:endParaRPr lang="en-GB" sz="1600" b="1" dirty="0"/>
          </a:p>
          <a:p>
            <a:pPr marL="285750" indent="-285750">
              <a:lnSpc>
                <a:spcPct val="90000"/>
              </a:lnSpc>
              <a:spcBef>
                <a:spcPts val="400"/>
              </a:spcBef>
              <a:buFont typeface="Arial" panose="020B0604020202020204" pitchFamily="34" charset="0"/>
              <a:buChar char="•"/>
            </a:pPr>
            <a:r>
              <a:rPr lang="pl-PL" sz="1600" b="1" dirty="0">
                <a:solidFill>
                  <a:srgbClr val="FF0000"/>
                </a:solidFill>
              </a:rPr>
              <a:t>A</a:t>
            </a:r>
            <a:r>
              <a:rPr lang="en-GB" sz="1600" b="1" dirty="0" err="1">
                <a:solidFill>
                  <a:srgbClr val="FF0000"/>
                </a:solidFill>
              </a:rPr>
              <a:t>ktualizacje</a:t>
            </a:r>
            <a:r>
              <a:rPr lang="en-GB" sz="1600" b="1" dirty="0">
                <a:solidFill>
                  <a:srgbClr val="FF0000"/>
                </a:solidFill>
              </a:rPr>
              <a:t> </a:t>
            </a:r>
            <a:r>
              <a:rPr lang="en-GB" sz="1600" b="1" dirty="0" err="1">
                <a:solidFill>
                  <a:srgbClr val="FF0000"/>
                </a:solidFill>
              </a:rPr>
              <a:t>oprogramowania</a:t>
            </a:r>
            <a:endParaRPr lang="en-GB" sz="1600" b="1" dirty="0">
              <a:solidFill>
                <a:srgbClr val="FF0000"/>
              </a:solidFill>
            </a:endParaRPr>
          </a:p>
          <a:p>
            <a:pPr>
              <a:lnSpc>
                <a:spcPct val="90000"/>
              </a:lnSpc>
              <a:spcBef>
                <a:spcPts val="400"/>
              </a:spcBef>
            </a:pPr>
            <a:r>
              <a:rPr lang="en-GB" sz="1600" b="1" dirty="0">
                <a:solidFill>
                  <a:srgbClr val="FF0000"/>
                </a:solidFill>
              </a:rPr>
              <a:t>      </a:t>
            </a:r>
            <a:r>
              <a:rPr lang="pl-PL" sz="1600" b="1" dirty="0">
                <a:solidFill>
                  <a:srgbClr val="FF0000"/>
                </a:solidFill>
              </a:rPr>
              <a:t> </a:t>
            </a:r>
            <a:r>
              <a:rPr lang="en-GB" sz="1600" b="1" dirty="0" err="1">
                <a:solidFill>
                  <a:srgbClr val="FF0000"/>
                </a:solidFill>
              </a:rPr>
              <a:t>i</a:t>
            </a:r>
            <a:r>
              <a:rPr lang="en-GB" sz="1600" b="1" dirty="0">
                <a:solidFill>
                  <a:srgbClr val="FF0000"/>
                </a:solidFill>
              </a:rPr>
              <a:t> </a:t>
            </a:r>
            <a:r>
              <a:rPr lang="en-GB" sz="1600" b="1" dirty="0" err="1">
                <a:solidFill>
                  <a:srgbClr val="FF0000"/>
                </a:solidFill>
              </a:rPr>
              <a:t>konfiguracja</a:t>
            </a:r>
            <a:r>
              <a:rPr lang="en-GB" sz="1600" b="1" dirty="0">
                <a:solidFill>
                  <a:srgbClr val="FF0000"/>
                </a:solidFill>
              </a:rPr>
              <a:t> </a:t>
            </a:r>
            <a:r>
              <a:rPr lang="en-GB" sz="1600" b="1" dirty="0" err="1">
                <a:solidFill>
                  <a:srgbClr val="FF0000"/>
                </a:solidFill>
              </a:rPr>
              <a:t>urządzeń</a:t>
            </a:r>
            <a:endParaRPr lang="en-GB" sz="1600" b="1" dirty="0">
              <a:solidFill>
                <a:srgbClr val="FF0000"/>
              </a:solidFill>
            </a:endParaRPr>
          </a:p>
          <a:p>
            <a:pPr>
              <a:lnSpc>
                <a:spcPct val="90000"/>
              </a:lnSpc>
              <a:spcBef>
                <a:spcPts val="400"/>
              </a:spcBef>
            </a:pPr>
            <a:endParaRPr lang="pl-PL" sz="1600" b="1" dirty="0"/>
          </a:p>
          <a:p>
            <a:pPr marL="285750" indent="-285750">
              <a:lnSpc>
                <a:spcPct val="90000"/>
              </a:lnSpc>
              <a:spcBef>
                <a:spcPts val="400"/>
              </a:spcBef>
              <a:buFont typeface="Arial" panose="020B0604020202020204" pitchFamily="34" charset="0"/>
              <a:buChar char="•"/>
            </a:pPr>
            <a:r>
              <a:rPr lang="en-GB" sz="1600" b="1" dirty="0"/>
              <a:t> </a:t>
            </a:r>
            <a:r>
              <a:rPr lang="pl-PL" sz="1600" b="1" dirty="0">
                <a:solidFill>
                  <a:srgbClr val="FFC000"/>
                </a:solidFill>
              </a:rPr>
              <a:t>S</a:t>
            </a:r>
            <a:r>
              <a:rPr lang="en-GB" sz="1600" b="1" dirty="0" err="1">
                <a:solidFill>
                  <a:srgbClr val="FFC000"/>
                </a:solidFill>
              </a:rPr>
              <a:t>egmentacja</a:t>
            </a:r>
            <a:r>
              <a:rPr lang="en-GB" sz="1600" b="1" dirty="0">
                <a:solidFill>
                  <a:srgbClr val="FFC000"/>
                </a:solidFill>
              </a:rPr>
              <a:t> </a:t>
            </a:r>
            <a:r>
              <a:rPr lang="en-GB" sz="1600" b="1" dirty="0" err="1">
                <a:solidFill>
                  <a:srgbClr val="FFC000"/>
                </a:solidFill>
              </a:rPr>
              <a:t>sieci</a:t>
            </a:r>
            <a:endParaRPr lang="en-GB" sz="1600" b="1" dirty="0">
              <a:solidFill>
                <a:srgbClr val="FFC000"/>
              </a:solidFill>
            </a:endParaRPr>
          </a:p>
          <a:p>
            <a:pPr>
              <a:lnSpc>
                <a:spcPct val="90000"/>
              </a:lnSpc>
              <a:spcBef>
                <a:spcPts val="400"/>
              </a:spcBef>
            </a:pPr>
            <a:endParaRPr lang="en-GB" sz="1600" b="1" dirty="0"/>
          </a:p>
          <a:p>
            <a:pPr marL="285750" indent="-285750">
              <a:lnSpc>
                <a:spcPct val="90000"/>
              </a:lnSpc>
              <a:spcBef>
                <a:spcPts val="400"/>
              </a:spcBef>
              <a:buFont typeface="Arial" panose="020B0604020202020204" pitchFamily="34" charset="0"/>
              <a:buChar char="•"/>
            </a:pPr>
            <a:r>
              <a:rPr lang="pl-PL" sz="1600" b="1" dirty="0">
                <a:solidFill>
                  <a:srgbClr val="00B050"/>
                </a:solidFill>
              </a:rPr>
              <a:t>Z</a:t>
            </a:r>
            <a:r>
              <a:rPr lang="en-GB" sz="1600" b="1" dirty="0" err="1">
                <a:solidFill>
                  <a:srgbClr val="00B050"/>
                </a:solidFill>
              </a:rPr>
              <a:t>arządzanie</a:t>
            </a:r>
            <a:r>
              <a:rPr lang="en-GB" sz="1600" b="1" dirty="0">
                <a:solidFill>
                  <a:srgbClr val="00B050"/>
                </a:solidFill>
              </a:rPr>
              <a:t> </a:t>
            </a:r>
            <a:r>
              <a:rPr lang="en-GB" sz="1600" b="1" dirty="0" err="1">
                <a:solidFill>
                  <a:srgbClr val="00B050"/>
                </a:solidFill>
              </a:rPr>
              <a:t>tożsamością</a:t>
            </a:r>
            <a:endParaRPr lang="en-GB" sz="1600" b="1" dirty="0">
              <a:solidFill>
                <a:srgbClr val="00B050"/>
              </a:solidFill>
            </a:endParaRPr>
          </a:p>
          <a:p>
            <a:pPr>
              <a:lnSpc>
                <a:spcPct val="90000"/>
              </a:lnSpc>
              <a:spcBef>
                <a:spcPts val="400"/>
              </a:spcBef>
            </a:pPr>
            <a:r>
              <a:rPr lang="en-GB" sz="1600" b="1" dirty="0">
                <a:solidFill>
                  <a:srgbClr val="00B050"/>
                </a:solidFill>
              </a:rPr>
              <a:t>      </a:t>
            </a:r>
            <a:r>
              <a:rPr lang="pl-PL" sz="1600" b="1" dirty="0">
                <a:solidFill>
                  <a:srgbClr val="00B050"/>
                </a:solidFill>
              </a:rPr>
              <a:t> </a:t>
            </a:r>
            <a:r>
              <a:rPr lang="en-GB" sz="1600" b="1" dirty="0" err="1">
                <a:solidFill>
                  <a:srgbClr val="00B050"/>
                </a:solidFill>
              </a:rPr>
              <a:t>i</a:t>
            </a:r>
            <a:r>
              <a:rPr lang="en-GB" sz="1600" b="1" dirty="0">
                <a:solidFill>
                  <a:srgbClr val="00B050"/>
                </a:solidFill>
              </a:rPr>
              <a:t> </a:t>
            </a:r>
            <a:r>
              <a:rPr lang="en-GB" sz="1600" b="1" dirty="0" err="1">
                <a:solidFill>
                  <a:srgbClr val="00B050"/>
                </a:solidFill>
              </a:rPr>
              <a:t>dostępem</a:t>
            </a:r>
            <a:endParaRPr lang="en-GB" sz="1600" b="1" dirty="0">
              <a:solidFill>
                <a:srgbClr val="00B050"/>
              </a:solidFill>
            </a:endParaRPr>
          </a:p>
          <a:p>
            <a:pPr marL="285750" indent="-285750" algn="ctr">
              <a:lnSpc>
                <a:spcPct val="90000"/>
              </a:lnSpc>
              <a:spcBef>
                <a:spcPts val="400"/>
              </a:spcBef>
              <a:buFont typeface="Arial" panose="020B0604020202020204" pitchFamily="34" charset="0"/>
              <a:buChar char="•"/>
            </a:pPr>
            <a:endParaRPr lang="en-GB" sz="1600" dirty="0">
              <a:solidFill>
                <a:srgbClr val="00B050"/>
              </a:solidFill>
            </a:endParaRPr>
          </a:p>
          <a:p>
            <a:pPr algn="ctr">
              <a:lnSpc>
                <a:spcPct val="90000"/>
              </a:lnSpc>
              <a:spcBef>
                <a:spcPts val="400"/>
              </a:spcBef>
            </a:pPr>
            <a:endParaRPr lang="en-GB" sz="1600" b="1" dirty="0">
              <a:solidFill>
                <a:srgbClr val="00B050"/>
              </a:solidFill>
            </a:endParaRPr>
          </a:p>
          <a:p>
            <a:pPr algn="ctr">
              <a:lnSpc>
                <a:spcPct val="90000"/>
              </a:lnSpc>
              <a:spcBef>
                <a:spcPts val="400"/>
              </a:spcBef>
            </a:pPr>
            <a:r>
              <a:rPr lang="en-GB" sz="1600" b="1" dirty="0">
                <a:solidFill>
                  <a:schemeClr val="accent3">
                    <a:lumMod val="75000"/>
                  </a:schemeClr>
                </a:solidFill>
              </a:rPr>
              <a:t>ZARZĄDZANIE </a:t>
            </a:r>
          </a:p>
          <a:p>
            <a:pPr algn="ctr">
              <a:lnSpc>
                <a:spcPct val="90000"/>
              </a:lnSpc>
              <a:spcBef>
                <a:spcPts val="400"/>
              </a:spcBef>
            </a:pPr>
            <a:r>
              <a:rPr lang="en-GB" sz="1600" b="1" dirty="0">
                <a:solidFill>
                  <a:schemeClr val="accent3">
                    <a:lumMod val="75000"/>
                  </a:schemeClr>
                </a:solidFill>
              </a:rPr>
              <a:t>CYBERBEZPIECZEŃSTWEM</a:t>
            </a:r>
            <a:endParaRPr lang="en-PL" sz="1600" b="1" dirty="0" err="1">
              <a:solidFill>
                <a:schemeClr val="accent3">
                  <a:lumMod val="75000"/>
                </a:schemeClr>
              </a:solidFill>
            </a:endParaRPr>
          </a:p>
        </p:txBody>
      </p:sp>
      <p:sp>
        <p:nvSpPr>
          <p:cNvPr id="9" name="Rounded Rectangle 8">
            <a:extLst>
              <a:ext uri="{FF2B5EF4-FFF2-40B4-BE49-F238E27FC236}">
                <a16:creationId xmlns:a16="http://schemas.microsoft.com/office/drawing/2014/main" id="{B5556392-20E4-C1D9-FE6F-C1D92FB16E0D}"/>
              </a:ext>
            </a:extLst>
          </p:cNvPr>
          <p:cNvSpPr/>
          <p:nvPr/>
        </p:nvSpPr>
        <p:spPr bwMode="ltGray">
          <a:xfrm>
            <a:off x="8516464" y="4177711"/>
            <a:ext cx="1891430" cy="638837"/>
          </a:xfrm>
          <a:prstGeom prst="roundRect">
            <a:avLst/>
          </a:prstGeom>
          <a:solidFill>
            <a:srgbClr val="00DCC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65" name="Rounded Rectangle 64">
            <a:extLst>
              <a:ext uri="{FF2B5EF4-FFF2-40B4-BE49-F238E27FC236}">
                <a16:creationId xmlns:a16="http://schemas.microsoft.com/office/drawing/2014/main" id="{683F5436-AC7B-2940-E4B3-476FB17DEA10}"/>
              </a:ext>
            </a:extLst>
          </p:cNvPr>
          <p:cNvSpPr/>
          <p:nvPr/>
        </p:nvSpPr>
        <p:spPr bwMode="ltGray">
          <a:xfrm>
            <a:off x="3980200" y="4161874"/>
            <a:ext cx="2084533" cy="638839"/>
          </a:xfrm>
          <a:prstGeom prst="roundRect">
            <a:avLst/>
          </a:prstGeom>
          <a:solidFill>
            <a:srgbClr val="00B05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93" name="Rounded Rectangle 92">
            <a:extLst>
              <a:ext uri="{FF2B5EF4-FFF2-40B4-BE49-F238E27FC236}">
                <a16:creationId xmlns:a16="http://schemas.microsoft.com/office/drawing/2014/main" id="{6FE85CE4-11FC-706A-521C-2E364FE05FBA}"/>
              </a:ext>
            </a:extLst>
          </p:cNvPr>
          <p:cNvSpPr/>
          <p:nvPr/>
        </p:nvSpPr>
        <p:spPr bwMode="ltGray">
          <a:xfrm>
            <a:off x="3915933" y="3090022"/>
            <a:ext cx="1083365" cy="638837"/>
          </a:xfrm>
          <a:prstGeom prst="roundRect">
            <a:avLst/>
          </a:prstGeom>
          <a:solidFill>
            <a:srgbClr val="00B05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94" name="Rounded Rectangle 93">
            <a:extLst>
              <a:ext uri="{FF2B5EF4-FFF2-40B4-BE49-F238E27FC236}">
                <a16:creationId xmlns:a16="http://schemas.microsoft.com/office/drawing/2014/main" id="{BB002143-8C02-6F12-B53D-9D4ACCAF4332}"/>
              </a:ext>
            </a:extLst>
          </p:cNvPr>
          <p:cNvSpPr/>
          <p:nvPr/>
        </p:nvSpPr>
        <p:spPr bwMode="ltGray">
          <a:xfrm>
            <a:off x="5124709" y="3084526"/>
            <a:ext cx="3239615" cy="644339"/>
          </a:xfrm>
          <a:prstGeom prst="roundRect">
            <a:avLst/>
          </a:prstGeom>
          <a:solidFill>
            <a:srgbClr val="FF000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97" name="Rounded Rectangle 96">
            <a:extLst>
              <a:ext uri="{FF2B5EF4-FFF2-40B4-BE49-F238E27FC236}">
                <a16:creationId xmlns:a16="http://schemas.microsoft.com/office/drawing/2014/main" id="{9FD45638-74DF-8DA3-E93C-D20557031053}"/>
              </a:ext>
            </a:extLst>
          </p:cNvPr>
          <p:cNvSpPr/>
          <p:nvPr/>
        </p:nvSpPr>
        <p:spPr bwMode="ltGray">
          <a:xfrm>
            <a:off x="6235249" y="4177711"/>
            <a:ext cx="1005841" cy="646609"/>
          </a:xfrm>
          <a:prstGeom prst="roundRect">
            <a:avLst/>
          </a:prstGeom>
          <a:solidFill>
            <a:srgbClr val="FFFF0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99" name="Rounded Rectangle 98">
            <a:extLst>
              <a:ext uri="{FF2B5EF4-FFF2-40B4-BE49-F238E27FC236}">
                <a16:creationId xmlns:a16="http://schemas.microsoft.com/office/drawing/2014/main" id="{621D3E58-882F-1352-7806-9C18E40E45B0}"/>
              </a:ext>
            </a:extLst>
          </p:cNvPr>
          <p:cNvSpPr/>
          <p:nvPr/>
        </p:nvSpPr>
        <p:spPr bwMode="ltGray">
          <a:xfrm>
            <a:off x="7339399" y="4180805"/>
            <a:ext cx="1083365" cy="643517"/>
          </a:xfrm>
          <a:prstGeom prst="roundRect">
            <a:avLst/>
          </a:prstGeom>
          <a:solidFill>
            <a:srgbClr val="00B050">
              <a:alpha val="29020"/>
            </a:srgbClr>
          </a:solidFill>
          <a:ln>
            <a:solidFill>
              <a:schemeClr val="tx1"/>
            </a:solid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en-PL" dirty="0" err="1">
              <a:solidFill>
                <a:schemeClr val="tx1"/>
              </a:solidFill>
            </a:endParaRPr>
          </a:p>
        </p:txBody>
      </p:sp>
      <p:sp>
        <p:nvSpPr>
          <p:cNvPr id="100" name="Rounded Rectangle 99">
            <a:extLst>
              <a:ext uri="{FF2B5EF4-FFF2-40B4-BE49-F238E27FC236}">
                <a16:creationId xmlns:a16="http://schemas.microsoft.com/office/drawing/2014/main" id="{EB625B74-8194-5867-2D7C-1E2F2D389D66}"/>
              </a:ext>
            </a:extLst>
          </p:cNvPr>
          <p:cNvSpPr/>
          <p:nvPr/>
        </p:nvSpPr>
        <p:spPr bwMode="ltGray">
          <a:xfrm>
            <a:off x="4084983" y="5182363"/>
            <a:ext cx="6322911" cy="839452"/>
          </a:xfrm>
          <a:prstGeom prst="roundRect">
            <a:avLst/>
          </a:prstGeom>
          <a:solidFill>
            <a:srgbClr val="5413C0">
              <a:alpha val="50980"/>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PL" dirty="0" err="1">
              <a:solidFill>
                <a:schemeClr val="tx1"/>
              </a:solidFill>
            </a:endParaRPr>
          </a:p>
        </p:txBody>
      </p:sp>
    </p:spTree>
    <p:extLst>
      <p:ext uri="{BB962C8B-B14F-4D97-AF65-F5344CB8AC3E}">
        <p14:creationId xmlns:p14="http://schemas.microsoft.com/office/powerpoint/2010/main" val="215892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1" end="1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12" end="12"/>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5" grpId="0" animBg="1"/>
      <p:bldP spid="93" grpId="0" animBg="1"/>
      <p:bldP spid="94" grpId="0" animBg="1"/>
      <p:bldP spid="97" grpId="0" animBg="1"/>
      <p:bldP spid="99" grpId="0" animBg="1"/>
      <p:bldP spid="10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391FF8-DC41-43D8-BE2F-A57B34C4FA9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2212694" y="688975"/>
            <a:ext cx="7766612" cy="5480050"/>
          </a:xfrm>
        </p:spPr>
        <p:txBody>
          <a:bodyPr/>
          <a:lstStyle/>
          <a:p>
            <a:r>
              <a:rPr lang="en-GB" dirty="0">
                <a:solidFill>
                  <a:schemeClr val="bg1"/>
                </a:solidFill>
              </a:rPr>
              <a:t>Aruba </a:t>
            </a:r>
            <a:r>
              <a:rPr lang="en-US" dirty="0"/>
              <a:t>ClearPass Policy Manager</a:t>
            </a:r>
          </a:p>
        </p:txBody>
      </p:sp>
      <p:sp>
        <p:nvSpPr>
          <p:cNvPr id="4" name="Element">
            <a:extLst>
              <a:ext uri="{FF2B5EF4-FFF2-40B4-BE49-F238E27FC236}">
                <a16:creationId xmlns:a16="http://schemas.microsoft.com/office/drawing/2014/main" id="{B4ECC0F1-8088-4BAC-B322-75D55D5633C9}"/>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Tree>
    <p:extLst>
      <p:ext uri="{BB962C8B-B14F-4D97-AF65-F5344CB8AC3E}">
        <p14:creationId xmlns:p14="http://schemas.microsoft.com/office/powerpoint/2010/main" val="412883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FD9F716-5036-C97F-EF82-896CBC354745}"/>
              </a:ext>
            </a:extLst>
          </p:cNvPr>
          <p:cNvSpPr>
            <a:spLocks noGrp="1"/>
          </p:cNvSpPr>
          <p:nvPr>
            <p:ph type="sldNum" sz="quarter" idx="19"/>
          </p:nvPr>
        </p:nvSpPr>
        <p:spPr/>
        <p:txBody>
          <a:bodyPr/>
          <a:lstStyle/>
          <a:p>
            <a:pPr defTabSz="1088421"/>
            <a:fld id="{104FC826-72BB-4AF1-BA01-A94F7396A7DC}" type="slidenum">
              <a:rPr lang="en-US" smtClean="0"/>
              <a:pPr defTabSz="1088421"/>
              <a:t>5</a:t>
            </a:fld>
            <a:endParaRPr lang="en-US"/>
          </a:p>
        </p:txBody>
      </p:sp>
      <p:sp>
        <p:nvSpPr>
          <p:cNvPr id="2" name="Title 1">
            <a:extLst>
              <a:ext uri="{FF2B5EF4-FFF2-40B4-BE49-F238E27FC236}">
                <a16:creationId xmlns:a16="http://schemas.microsoft.com/office/drawing/2014/main" id="{22F54EA4-35E7-4AF2-BEDE-E36F5A1656E0}"/>
              </a:ext>
            </a:extLst>
          </p:cNvPr>
          <p:cNvSpPr>
            <a:spLocks noGrp="1"/>
          </p:cNvSpPr>
          <p:nvPr>
            <p:ph type="title"/>
          </p:nvPr>
        </p:nvSpPr>
        <p:spPr/>
        <p:txBody>
          <a:bodyPr/>
          <a:lstStyle/>
          <a:p>
            <a:r>
              <a:rPr lang="en-US" dirty="0"/>
              <a:t>HPE Aruba Networking Zero Trust Security</a:t>
            </a:r>
            <a:endParaRPr lang="en-GB" dirty="0"/>
          </a:p>
        </p:txBody>
      </p:sp>
      <p:graphicFrame>
        <p:nvGraphicFramePr>
          <p:cNvPr id="69" name="Chart 68">
            <a:extLst>
              <a:ext uri="{FF2B5EF4-FFF2-40B4-BE49-F238E27FC236}">
                <a16:creationId xmlns:a16="http://schemas.microsoft.com/office/drawing/2014/main" id="{0E16209F-5518-A205-4141-E9E93F037ACE}"/>
              </a:ext>
            </a:extLst>
          </p:cNvPr>
          <p:cNvGraphicFramePr/>
          <p:nvPr/>
        </p:nvGraphicFramePr>
        <p:xfrm>
          <a:off x="3508923" y="1194375"/>
          <a:ext cx="5174154" cy="47814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0" name="Chart 69">
            <a:extLst>
              <a:ext uri="{FF2B5EF4-FFF2-40B4-BE49-F238E27FC236}">
                <a16:creationId xmlns:a16="http://schemas.microsoft.com/office/drawing/2014/main" id="{78130909-9E85-EDDD-EEC7-6FBA50241146}"/>
              </a:ext>
            </a:extLst>
          </p:cNvPr>
          <p:cNvGraphicFramePr/>
          <p:nvPr/>
        </p:nvGraphicFramePr>
        <p:xfrm>
          <a:off x="3508923" y="1151680"/>
          <a:ext cx="5174154" cy="4781484"/>
        </p:xfrm>
        <a:graphic>
          <a:graphicData uri="http://schemas.openxmlformats.org/drawingml/2006/chart">
            <c:chart xmlns:c="http://schemas.openxmlformats.org/drawingml/2006/chart" xmlns:r="http://schemas.openxmlformats.org/officeDocument/2006/relationships" r:id="rId4"/>
          </a:graphicData>
        </a:graphic>
      </p:graphicFrame>
      <p:sp>
        <p:nvSpPr>
          <p:cNvPr id="71" name="VISIBILITY…">
            <a:extLst>
              <a:ext uri="{FF2B5EF4-FFF2-40B4-BE49-F238E27FC236}">
                <a16:creationId xmlns:a16="http://schemas.microsoft.com/office/drawing/2014/main" id="{4B840A8D-6D22-3429-6A95-005CF4773220}"/>
              </a:ext>
            </a:extLst>
          </p:cNvPr>
          <p:cNvSpPr txBox="1"/>
          <p:nvPr/>
        </p:nvSpPr>
        <p:spPr>
          <a:xfrm>
            <a:off x="3856004" y="3606748"/>
            <a:ext cx="1699624" cy="1264550"/>
          </a:xfrm>
          <a:prstGeom prst="rect">
            <a:avLst/>
          </a:prstGeom>
          <a:ln w="3175">
            <a:miter lim="400000"/>
          </a:ln>
          <a:extLst>
            <a:ext uri="{C572A759-6A51-4108-AA02-DFA0A04FC94B}">
              <ma14:wrappingTextBoxFlag xmlns="" xmlns:ma14="http://schemas.microsoft.com/office/mac/drawingml/2011/main" val="1"/>
            </a:ext>
          </a:extLst>
        </p:spPr>
        <p:txBody>
          <a:bodyPr wrap="square" lIns="108000" tIns="108000" rIns="108000" bIns="108000" anchor="ctr" anchorCtr="0">
            <a:noAutofit/>
          </a:bodyPr>
          <a:lstStyle/>
          <a:p>
            <a:pPr algn="ctr" defTabSz="451169" hangingPunct="0">
              <a:lnSpc>
                <a:spcPct val="90000"/>
              </a:lnSpc>
              <a:spcAft>
                <a:spcPts val="600"/>
              </a:spcAft>
              <a:defRPr sz="3000">
                <a:latin typeface="Arial"/>
                <a:ea typeface="Arial"/>
                <a:cs typeface="Arial"/>
                <a:sym typeface="Arial"/>
              </a:defRPr>
            </a:pPr>
            <a:r>
              <a:rPr lang="en-US" sz="1400" b="1" kern="0">
                <a:solidFill>
                  <a:schemeClr val="bg1"/>
                </a:solidFill>
                <a:latin typeface="+mj-lt"/>
                <a:cs typeface="Arial" panose="020B0604020202020204" pitchFamily="34" charset="0"/>
                <a:sym typeface="Arial"/>
              </a:rPr>
              <a:t>CONDITIONAL MONITORING</a:t>
            </a:r>
            <a:endParaRPr sz="1400" b="1" kern="0">
              <a:solidFill>
                <a:schemeClr val="bg1"/>
              </a:solidFill>
              <a:latin typeface="+mj-lt"/>
              <a:cs typeface="Arial" panose="020B0604020202020204" pitchFamily="34" charset="0"/>
              <a:sym typeface="Arial"/>
            </a:endParaRPr>
          </a:p>
          <a:p>
            <a:pPr algn="ctr" defTabSz="451169" hangingPunct="0">
              <a:lnSpc>
                <a:spcPct val="90000"/>
              </a:lnSpc>
              <a:spcAft>
                <a:spcPts val="600"/>
              </a:spcAft>
              <a:defRPr sz="2500" b="0">
                <a:latin typeface="Arial"/>
                <a:ea typeface="Arial"/>
                <a:cs typeface="Arial"/>
                <a:sym typeface="Arial"/>
              </a:defRPr>
            </a:pPr>
            <a:r>
              <a:rPr lang="en-US" sz="1050" kern="0">
                <a:solidFill>
                  <a:schemeClr val="bg1"/>
                </a:solidFill>
                <a:latin typeface="+mj-lt"/>
                <a:ea typeface="Open Sans" panose="020B0606030504020204" pitchFamily="34" charset="0"/>
                <a:cs typeface="Arial" panose="020B0604020202020204" pitchFamily="34" charset="0"/>
                <a:sym typeface="Arial"/>
              </a:rPr>
              <a:t>Real-time Threat</a:t>
            </a:r>
            <a:br>
              <a:rPr lang="en-US" sz="1050" kern="0">
                <a:solidFill>
                  <a:schemeClr val="bg1"/>
                </a:solidFill>
                <a:latin typeface="+mj-lt"/>
                <a:ea typeface="Open Sans" panose="020B0606030504020204" pitchFamily="34" charset="0"/>
                <a:cs typeface="Arial" panose="020B0604020202020204" pitchFamily="34" charset="0"/>
                <a:sym typeface="Arial"/>
              </a:rPr>
            </a:br>
            <a:r>
              <a:rPr lang="en-US" sz="1050" kern="0">
                <a:solidFill>
                  <a:schemeClr val="bg1"/>
                </a:solidFill>
                <a:latin typeface="+mj-lt"/>
                <a:ea typeface="Open Sans" panose="020B0606030504020204" pitchFamily="34" charset="0"/>
                <a:cs typeface="Arial" panose="020B0604020202020204" pitchFamily="34" charset="0"/>
                <a:sym typeface="Arial"/>
              </a:rPr>
              <a:t>Telemetry from Aruba</a:t>
            </a:r>
            <a:br>
              <a:rPr lang="en-US" sz="1050" kern="0">
                <a:solidFill>
                  <a:schemeClr val="bg1"/>
                </a:solidFill>
                <a:latin typeface="+mj-lt"/>
                <a:ea typeface="Open Sans" panose="020B0606030504020204" pitchFamily="34" charset="0"/>
                <a:cs typeface="Arial" panose="020B0604020202020204" pitchFamily="34" charset="0"/>
                <a:sym typeface="Arial"/>
              </a:rPr>
            </a:br>
            <a:r>
              <a:rPr lang="en-US" sz="1050" kern="0">
                <a:solidFill>
                  <a:schemeClr val="bg1"/>
                </a:solidFill>
                <a:latin typeface="+mj-lt"/>
                <a:ea typeface="Open Sans" panose="020B0606030504020204" pitchFamily="34" charset="0"/>
                <a:cs typeface="Arial" panose="020B0604020202020204" pitchFamily="34" charset="0"/>
                <a:sym typeface="Arial"/>
              </a:rPr>
              <a:t>solutions and</a:t>
            </a:r>
            <a:br>
              <a:rPr lang="en-US" sz="1050" kern="0">
                <a:solidFill>
                  <a:schemeClr val="bg1"/>
                </a:solidFill>
                <a:latin typeface="+mj-lt"/>
                <a:ea typeface="Open Sans" panose="020B0606030504020204" pitchFamily="34" charset="0"/>
                <a:cs typeface="Arial" panose="020B0604020202020204" pitchFamily="34" charset="0"/>
                <a:sym typeface="Arial"/>
              </a:rPr>
            </a:br>
            <a:r>
              <a:rPr lang="en-US" sz="1050" kern="0">
                <a:solidFill>
                  <a:schemeClr val="bg1"/>
                </a:solidFill>
                <a:latin typeface="+mj-lt"/>
                <a:ea typeface="Open Sans" panose="020B0606030504020204" pitchFamily="34" charset="0"/>
                <a:cs typeface="Arial" panose="020B0604020202020204" pitchFamily="34" charset="0"/>
                <a:sym typeface="Arial"/>
              </a:rPr>
              <a:t>150+ integrations</a:t>
            </a:r>
            <a:endParaRPr sz="1050" kern="0">
              <a:solidFill>
                <a:schemeClr val="bg1"/>
              </a:solidFill>
              <a:latin typeface="+mj-lt"/>
              <a:ea typeface="Open Sans" panose="020B0606030504020204" pitchFamily="34" charset="0"/>
              <a:cs typeface="Arial" panose="020B0604020202020204" pitchFamily="34" charset="0"/>
              <a:sym typeface="Arial"/>
            </a:endParaRPr>
          </a:p>
        </p:txBody>
      </p:sp>
      <p:sp>
        <p:nvSpPr>
          <p:cNvPr id="72" name="ENFORCEMENT…">
            <a:extLst>
              <a:ext uri="{FF2B5EF4-FFF2-40B4-BE49-F238E27FC236}">
                <a16:creationId xmlns:a16="http://schemas.microsoft.com/office/drawing/2014/main" id="{EBBBEB3E-4472-0C41-E24E-C75F1F68855F}"/>
              </a:ext>
            </a:extLst>
          </p:cNvPr>
          <p:cNvSpPr txBox="1"/>
          <p:nvPr/>
        </p:nvSpPr>
        <p:spPr>
          <a:xfrm>
            <a:off x="4411451" y="2056817"/>
            <a:ext cx="1545113" cy="932563"/>
          </a:xfrm>
          <a:prstGeom prst="rect">
            <a:avLst/>
          </a:prstGeom>
          <a:ln w="3175">
            <a:miter lim="400000"/>
          </a:ln>
          <a:extLst>
            <a:ext uri="{C572A759-6A51-4108-AA02-DFA0A04FC94B}">
              <ma14:wrappingTextBoxFlag xmlns="" xmlns:ma14="http://schemas.microsoft.com/office/mac/drawingml/2011/main" val="1"/>
            </a:ext>
          </a:extLst>
        </p:spPr>
        <p:txBody>
          <a:bodyPr wrap="square" lIns="108000" tIns="108000" rIns="108000" bIns="108000" anchor="ctr" anchorCtr="0">
            <a:noAutofit/>
          </a:bodyPr>
          <a:lstStyle/>
          <a:p>
            <a:pPr algn="ctr" defTabSz="451169" hangingPunct="0">
              <a:lnSpc>
                <a:spcPct val="90000"/>
              </a:lnSpc>
              <a:spcAft>
                <a:spcPts val="600"/>
              </a:spcAft>
              <a:defRPr sz="3000">
                <a:latin typeface="Arial"/>
                <a:ea typeface="Arial"/>
                <a:cs typeface="Arial"/>
                <a:sym typeface="Arial"/>
              </a:defRPr>
            </a:pPr>
            <a:r>
              <a:rPr lang="en-US" sz="1400" b="1" kern="0">
                <a:solidFill>
                  <a:schemeClr val="bg1"/>
                </a:solidFill>
                <a:latin typeface="+mj-lt"/>
                <a:cs typeface="Arial" panose="020B0604020202020204" pitchFamily="34" charset="0"/>
                <a:sym typeface="Arial"/>
              </a:rPr>
              <a:t>ENFORCEMENT</a:t>
            </a:r>
            <a:br>
              <a:rPr lang="en-US" sz="1400" b="1" kern="0">
                <a:solidFill>
                  <a:schemeClr val="bg1"/>
                </a:solidFill>
                <a:latin typeface="+mj-lt"/>
                <a:cs typeface="Arial" panose="020B0604020202020204" pitchFamily="34" charset="0"/>
                <a:sym typeface="Arial"/>
              </a:rPr>
            </a:br>
            <a:r>
              <a:rPr sz="1400" b="1" kern="0">
                <a:solidFill>
                  <a:schemeClr val="bg1"/>
                </a:solidFill>
                <a:latin typeface="+mj-lt"/>
                <a:cs typeface="Arial" panose="020B0604020202020204" pitchFamily="34" charset="0"/>
                <a:sym typeface="Arial"/>
              </a:rPr>
              <a:t>AND</a:t>
            </a:r>
            <a:r>
              <a:rPr lang="en-US" sz="1400" b="1" kern="0">
                <a:solidFill>
                  <a:schemeClr val="bg1"/>
                </a:solidFill>
                <a:latin typeface="+mj-lt"/>
                <a:cs typeface="Arial" panose="020B0604020202020204" pitchFamily="34" charset="0"/>
                <a:sym typeface="Arial"/>
              </a:rPr>
              <a:t> </a:t>
            </a:r>
            <a:r>
              <a:rPr sz="1400" b="1" kern="0">
                <a:solidFill>
                  <a:schemeClr val="bg1"/>
                </a:solidFill>
                <a:latin typeface="+mj-lt"/>
                <a:cs typeface="Arial" panose="020B0604020202020204" pitchFamily="34" charset="0"/>
                <a:sym typeface="Arial"/>
              </a:rPr>
              <a:t>RESPONSE</a:t>
            </a:r>
          </a:p>
          <a:p>
            <a:pPr algn="ctr" defTabSz="451169" hangingPunct="0">
              <a:lnSpc>
                <a:spcPct val="90000"/>
              </a:lnSpc>
              <a:spcAft>
                <a:spcPts val="300"/>
              </a:spcAft>
              <a:defRPr sz="2500">
                <a:latin typeface="Arial"/>
                <a:ea typeface="Arial"/>
                <a:cs typeface="Arial"/>
                <a:sym typeface="Arial"/>
              </a:defRPr>
            </a:pPr>
            <a:r>
              <a:rPr sz="1050" kern="0">
                <a:solidFill>
                  <a:schemeClr val="bg1"/>
                </a:solidFill>
                <a:latin typeface="+mj-lt"/>
                <a:ea typeface="Open Sans Semibold" panose="020B0606030504020204" pitchFamily="34" charset="0"/>
                <a:cs typeface="Arial" panose="020B0604020202020204" pitchFamily="34" charset="0"/>
                <a:sym typeface="Arial"/>
              </a:rPr>
              <a:t>Attack Response</a:t>
            </a:r>
          </a:p>
          <a:p>
            <a:pPr algn="ctr" defTabSz="451169" hangingPunct="0">
              <a:lnSpc>
                <a:spcPct val="90000"/>
              </a:lnSpc>
              <a:spcAft>
                <a:spcPts val="600"/>
              </a:spcAft>
              <a:defRPr sz="2500" b="0">
                <a:latin typeface="Arial"/>
                <a:ea typeface="Arial"/>
                <a:cs typeface="Arial"/>
                <a:sym typeface="Arial"/>
              </a:defRPr>
            </a:pPr>
            <a:r>
              <a:rPr sz="1050" kern="0">
                <a:solidFill>
                  <a:schemeClr val="bg1"/>
                </a:solidFill>
                <a:latin typeface="+mj-lt"/>
                <a:ea typeface="Open Sans" panose="020B0606030504020204" pitchFamily="34" charset="0"/>
                <a:cs typeface="Arial" panose="020B0604020202020204" pitchFamily="34" charset="0"/>
                <a:sym typeface="Arial"/>
              </a:rPr>
              <a:t>Event-triggered actions</a:t>
            </a:r>
          </a:p>
        </p:txBody>
      </p:sp>
      <p:sp>
        <p:nvSpPr>
          <p:cNvPr id="73" name="VISIBILITY…">
            <a:extLst>
              <a:ext uri="{FF2B5EF4-FFF2-40B4-BE49-F238E27FC236}">
                <a16:creationId xmlns:a16="http://schemas.microsoft.com/office/drawing/2014/main" id="{7D6A8C25-0FB7-9691-9F3F-F5D5C4D07E13}"/>
              </a:ext>
            </a:extLst>
          </p:cNvPr>
          <p:cNvSpPr txBox="1"/>
          <p:nvPr/>
        </p:nvSpPr>
        <p:spPr>
          <a:xfrm>
            <a:off x="6171482" y="2039965"/>
            <a:ext cx="1404648" cy="922560"/>
          </a:xfrm>
          <a:prstGeom prst="rect">
            <a:avLst/>
          </a:prstGeom>
          <a:ln w="3175">
            <a:miter lim="400000"/>
          </a:ln>
          <a:extLst>
            <a:ext uri="{C572A759-6A51-4108-AA02-DFA0A04FC94B}">
              <ma14:wrappingTextBoxFlag xmlns="" xmlns:ma14="http://schemas.microsoft.com/office/mac/drawingml/2011/main" val="1"/>
            </a:ext>
          </a:extLst>
        </p:spPr>
        <p:txBody>
          <a:bodyPr lIns="108000" tIns="108000" rIns="108000" bIns="108000" anchor="ctr" anchorCtr="0">
            <a:noAutofit/>
          </a:bodyPr>
          <a:lstStyle/>
          <a:p>
            <a:pPr algn="ctr" defTabSz="451169" hangingPunct="0">
              <a:lnSpc>
                <a:spcPct val="90000"/>
              </a:lnSpc>
              <a:spcAft>
                <a:spcPts val="600"/>
              </a:spcAft>
              <a:defRPr sz="3000">
                <a:latin typeface="Arial"/>
                <a:ea typeface="Arial"/>
                <a:cs typeface="Arial"/>
                <a:sym typeface="Arial"/>
              </a:defRPr>
            </a:pPr>
            <a:r>
              <a:rPr sz="1400" b="1" kern="0" dirty="0">
                <a:solidFill>
                  <a:schemeClr val="bg1"/>
                </a:solidFill>
                <a:latin typeface="+mj-lt"/>
                <a:cs typeface="Arial" panose="020B0604020202020204" pitchFamily="34" charset="0"/>
                <a:sym typeface="Arial"/>
              </a:rPr>
              <a:t>VISIBILITY</a:t>
            </a:r>
          </a:p>
          <a:p>
            <a:pPr algn="ctr" defTabSz="451169" hangingPunct="0">
              <a:lnSpc>
                <a:spcPct val="90000"/>
              </a:lnSpc>
              <a:spcAft>
                <a:spcPts val="600"/>
              </a:spcAft>
              <a:defRPr sz="2500" b="0">
                <a:latin typeface="Arial"/>
                <a:ea typeface="Arial"/>
                <a:cs typeface="Arial"/>
                <a:sym typeface="Arial"/>
              </a:defRPr>
            </a:pPr>
            <a:r>
              <a:rPr sz="1050" kern="0" dirty="0">
                <a:solidFill>
                  <a:schemeClr val="bg1"/>
                </a:solidFill>
                <a:latin typeface="+mj-lt"/>
                <a:ea typeface="Open Sans" panose="020B0606030504020204" pitchFamily="34" charset="0"/>
                <a:cs typeface="Arial" panose="020B0604020202020204" pitchFamily="34" charset="0"/>
                <a:sym typeface="Arial"/>
              </a:rPr>
              <a:t>Device Discovery</a:t>
            </a:r>
            <a:br>
              <a:rPr lang="en-US" sz="1050" kern="0" dirty="0">
                <a:solidFill>
                  <a:schemeClr val="bg1"/>
                </a:solidFill>
                <a:latin typeface="+mj-lt"/>
                <a:ea typeface="Open Sans" panose="020B0606030504020204" pitchFamily="34" charset="0"/>
                <a:cs typeface="Arial" panose="020B0604020202020204" pitchFamily="34" charset="0"/>
                <a:sym typeface="Arial"/>
              </a:rPr>
            </a:br>
            <a:r>
              <a:rPr sz="1050" kern="0" dirty="0">
                <a:solidFill>
                  <a:schemeClr val="bg1"/>
                </a:solidFill>
                <a:latin typeface="+mj-lt"/>
                <a:ea typeface="Open Sans" panose="020B0606030504020204" pitchFamily="34" charset="0"/>
                <a:cs typeface="Arial" panose="020B0604020202020204" pitchFamily="34" charset="0"/>
                <a:sym typeface="Arial"/>
              </a:rPr>
              <a:t>and Profiling</a:t>
            </a:r>
          </a:p>
          <a:p>
            <a:pPr algn="ctr" defTabSz="451169" hangingPunct="0">
              <a:lnSpc>
                <a:spcPct val="90000"/>
              </a:lnSpc>
              <a:spcAft>
                <a:spcPts val="600"/>
              </a:spcAft>
              <a:defRPr sz="2500" b="0">
                <a:latin typeface="Arial"/>
                <a:ea typeface="Arial"/>
                <a:cs typeface="Arial"/>
                <a:sym typeface="Arial"/>
              </a:defRPr>
            </a:pPr>
            <a:r>
              <a:rPr sz="1050" kern="0" dirty="0">
                <a:solidFill>
                  <a:schemeClr val="bg1"/>
                </a:solidFill>
                <a:latin typeface="+mj-lt"/>
                <a:ea typeface="Open Sans" panose="020B0606030504020204" pitchFamily="34" charset="0"/>
                <a:cs typeface="Arial" panose="020B0604020202020204" pitchFamily="34" charset="0"/>
                <a:sym typeface="Arial"/>
              </a:rPr>
              <a:t>Custom Fingerprinting</a:t>
            </a:r>
            <a:endParaRPr lang="en-US" sz="1050" kern="0" dirty="0">
              <a:solidFill>
                <a:schemeClr val="bg1"/>
              </a:solidFill>
              <a:latin typeface="+mj-lt"/>
              <a:ea typeface="Open Sans" panose="020B0606030504020204" pitchFamily="34" charset="0"/>
              <a:cs typeface="Arial" panose="020B0604020202020204" pitchFamily="34" charset="0"/>
              <a:sym typeface="Arial"/>
            </a:endParaRPr>
          </a:p>
        </p:txBody>
      </p:sp>
      <p:sp>
        <p:nvSpPr>
          <p:cNvPr id="74" name="AUTHENTICATION…">
            <a:extLst>
              <a:ext uri="{FF2B5EF4-FFF2-40B4-BE49-F238E27FC236}">
                <a16:creationId xmlns:a16="http://schemas.microsoft.com/office/drawing/2014/main" id="{5C6050C3-8341-AC9E-57E0-914FFC35F909}"/>
              </a:ext>
            </a:extLst>
          </p:cNvPr>
          <p:cNvSpPr txBox="1"/>
          <p:nvPr/>
        </p:nvSpPr>
        <p:spPr>
          <a:xfrm>
            <a:off x="6536095" y="3774958"/>
            <a:ext cx="1699624" cy="963698"/>
          </a:xfrm>
          <a:prstGeom prst="rect">
            <a:avLst/>
          </a:prstGeom>
          <a:ln w="3175">
            <a:miter lim="400000"/>
          </a:ln>
          <a:extLst>
            <a:ext uri="{C572A759-6A51-4108-AA02-DFA0A04FC94B}">
              <ma14:wrappingTextBoxFlag xmlns="" xmlns:ma14="http://schemas.microsoft.com/office/mac/drawingml/2011/main" val="1"/>
            </a:ext>
          </a:extLst>
        </p:spPr>
        <p:txBody>
          <a:bodyPr wrap="square" lIns="108000" tIns="108000" rIns="108000" bIns="108000" anchor="ctr" anchorCtr="0">
            <a:noAutofit/>
          </a:bodyPr>
          <a:lstStyle/>
          <a:p>
            <a:pPr algn="ctr" defTabSz="451169" hangingPunct="0">
              <a:lnSpc>
                <a:spcPct val="90000"/>
              </a:lnSpc>
              <a:spcAft>
                <a:spcPts val="600"/>
              </a:spcAft>
              <a:defRPr sz="3000">
                <a:latin typeface="Arial"/>
                <a:ea typeface="Arial"/>
                <a:cs typeface="Arial"/>
                <a:sym typeface="Arial"/>
              </a:defRPr>
            </a:pPr>
            <a:r>
              <a:rPr sz="1400" b="1" kern="0">
                <a:solidFill>
                  <a:schemeClr val="bg1"/>
                </a:solidFill>
                <a:latin typeface="+mj-lt"/>
                <a:cs typeface="Arial" panose="020B0604020202020204" pitchFamily="34" charset="0"/>
                <a:sym typeface="Arial"/>
              </a:rPr>
              <a:t>AUTHENTICATION</a:t>
            </a:r>
          </a:p>
          <a:p>
            <a:pPr algn="ctr" defTabSz="451169" hangingPunct="0">
              <a:lnSpc>
                <a:spcPct val="90000"/>
              </a:lnSpc>
              <a:spcAft>
                <a:spcPts val="300"/>
              </a:spcAft>
              <a:defRPr sz="2500" b="0">
                <a:latin typeface="Arial"/>
                <a:ea typeface="Arial"/>
                <a:cs typeface="Arial"/>
                <a:sym typeface="Arial"/>
              </a:defRPr>
            </a:pPr>
            <a:r>
              <a:rPr sz="1050" b="1" kern="0">
                <a:solidFill>
                  <a:schemeClr val="bg1"/>
                </a:solidFill>
                <a:latin typeface="+mj-lt"/>
                <a:ea typeface="Open Sans Semibold" panose="020B0606030504020204" pitchFamily="34" charset="0"/>
                <a:cs typeface="Arial" panose="020B0604020202020204" pitchFamily="34" charset="0"/>
                <a:sym typeface="Arial"/>
              </a:rPr>
              <a:t>One Role, One Network</a:t>
            </a:r>
          </a:p>
          <a:p>
            <a:pPr algn="ctr" defTabSz="451169" hangingPunct="0">
              <a:lnSpc>
                <a:spcPct val="90000"/>
              </a:lnSpc>
              <a:spcAft>
                <a:spcPts val="600"/>
              </a:spcAft>
              <a:defRPr sz="2500" b="0">
                <a:latin typeface="Arial"/>
                <a:ea typeface="Arial"/>
                <a:cs typeface="Arial"/>
                <a:sym typeface="Arial"/>
              </a:defRPr>
            </a:pPr>
            <a:r>
              <a:rPr sz="1050" kern="0">
                <a:solidFill>
                  <a:schemeClr val="bg1"/>
                </a:solidFill>
                <a:latin typeface="+mj-lt"/>
                <a:ea typeface="Open Sans" panose="020B0606030504020204" pitchFamily="34" charset="0"/>
                <a:cs typeface="Arial" panose="020B0604020202020204" pitchFamily="34" charset="0"/>
                <a:sym typeface="Arial"/>
              </a:rPr>
              <a:t>AAA and Non-</a:t>
            </a:r>
            <a:br>
              <a:rPr lang="en-US" sz="1050" kern="0">
                <a:solidFill>
                  <a:schemeClr val="bg1"/>
                </a:solidFill>
                <a:latin typeface="+mj-lt"/>
                <a:ea typeface="Open Sans" panose="020B0606030504020204" pitchFamily="34" charset="0"/>
                <a:cs typeface="Arial" panose="020B0604020202020204" pitchFamily="34" charset="0"/>
                <a:sym typeface="Arial"/>
              </a:rPr>
            </a:br>
            <a:r>
              <a:rPr sz="1050" kern="0">
                <a:solidFill>
                  <a:schemeClr val="bg1"/>
                </a:solidFill>
                <a:latin typeface="+mj-lt"/>
                <a:ea typeface="Open Sans" panose="020B0606030504020204" pitchFamily="34" charset="0"/>
                <a:cs typeface="Arial" panose="020B0604020202020204" pitchFamily="34" charset="0"/>
                <a:sym typeface="Arial"/>
              </a:rPr>
              <a:t>AAA Options</a:t>
            </a:r>
          </a:p>
        </p:txBody>
      </p:sp>
      <p:sp>
        <p:nvSpPr>
          <p:cNvPr id="76" name="AUTHORIZATION…">
            <a:extLst>
              <a:ext uri="{FF2B5EF4-FFF2-40B4-BE49-F238E27FC236}">
                <a16:creationId xmlns:a16="http://schemas.microsoft.com/office/drawing/2014/main" id="{59B5EE56-2CA4-F416-353C-F444DB7B8526}"/>
              </a:ext>
            </a:extLst>
          </p:cNvPr>
          <p:cNvSpPr txBox="1"/>
          <p:nvPr/>
        </p:nvSpPr>
        <p:spPr>
          <a:xfrm>
            <a:off x="5148470" y="4589534"/>
            <a:ext cx="1895060" cy="1012173"/>
          </a:xfrm>
          <a:prstGeom prst="rect">
            <a:avLst/>
          </a:prstGeom>
          <a:ln w="3175">
            <a:miter lim="400000"/>
          </a:ln>
          <a:extLst>
            <a:ext uri="{C572A759-6A51-4108-AA02-DFA0A04FC94B}">
              <ma14:wrappingTextBoxFlag xmlns="" xmlns:ma14="http://schemas.microsoft.com/office/mac/drawingml/2011/main" val="1"/>
            </a:ext>
          </a:extLst>
        </p:spPr>
        <p:txBody>
          <a:bodyPr wrap="square" lIns="108000" tIns="108000" rIns="108000" bIns="108000" anchor="ctr" anchorCtr="0">
            <a:noAutofit/>
          </a:bodyPr>
          <a:lstStyle/>
          <a:p>
            <a:pPr algn="ctr" defTabSz="451169" hangingPunct="0">
              <a:lnSpc>
                <a:spcPct val="90000"/>
              </a:lnSpc>
              <a:spcAft>
                <a:spcPts val="600"/>
              </a:spcAft>
              <a:defRPr sz="3000">
                <a:latin typeface="Arial"/>
                <a:ea typeface="Arial"/>
                <a:cs typeface="Arial"/>
                <a:sym typeface="Arial"/>
              </a:defRPr>
            </a:pPr>
            <a:r>
              <a:rPr sz="1400" b="1" kern="0">
                <a:solidFill>
                  <a:schemeClr val="bg1"/>
                </a:solidFill>
                <a:latin typeface="+mj-lt"/>
                <a:cs typeface="Arial" panose="020B0604020202020204" pitchFamily="34" charset="0"/>
                <a:sym typeface="Arial"/>
              </a:rPr>
              <a:t>ROLE-BASED </a:t>
            </a:r>
            <a:br>
              <a:rPr sz="1400" b="1" kern="0">
                <a:solidFill>
                  <a:schemeClr val="bg1"/>
                </a:solidFill>
                <a:latin typeface="+mj-lt"/>
                <a:cs typeface="Arial" panose="020B0604020202020204" pitchFamily="34" charset="0"/>
                <a:sym typeface="Arial"/>
              </a:rPr>
            </a:br>
            <a:r>
              <a:rPr sz="1400" b="1" kern="0">
                <a:solidFill>
                  <a:schemeClr val="bg1"/>
                </a:solidFill>
                <a:latin typeface="+mj-lt"/>
                <a:cs typeface="Arial" panose="020B0604020202020204" pitchFamily="34" charset="0"/>
                <a:sym typeface="Arial"/>
              </a:rPr>
              <a:t>ACCESS CONTROL</a:t>
            </a:r>
          </a:p>
          <a:p>
            <a:pPr algn="ctr" defTabSz="451169" hangingPunct="0">
              <a:lnSpc>
                <a:spcPct val="90000"/>
              </a:lnSpc>
              <a:spcAft>
                <a:spcPts val="300"/>
              </a:spcAft>
              <a:defRPr sz="2500">
                <a:latin typeface="Arial"/>
                <a:ea typeface="Arial"/>
                <a:cs typeface="Arial"/>
                <a:sym typeface="Arial"/>
              </a:defRPr>
            </a:pPr>
            <a:r>
              <a:rPr sz="1050" b="1" kern="0">
                <a:solidFill>
                  <a:schemeClr val="bg1"/>
                </a:solidFill>
                <a:latin typeface="+mj-lt"/>
                <a:ea typeface="Open Sans Semibold" panose="020B0606030504020204" pitchFamily="34" charset="0"/>
                <a:cs typeface="Arial" panose="020B0604020202020204" pitchFamily="34" charset="0"/>
                <a:sym typeface="Arial"/>
              </a:rPr>
              <a:t>Precision Access Privileges</a:t>
            </a:r>
            <a:endParaRPr lang="en-US" sz="1050" b="1" kern="0">
              <a:solidFill>
                <a:schemeClr val="bg1"/>
              </a:solidFill>
              <a:latin typeface="+mj-lt"/>
              <a:ea typeface="Open Sans Semibold" panose="020B0606030504020204" pitchFamily="34" charset="0"/>
              <a:cs typeface="Arial" panose="020B0604020202020204" pitchFamily="34" charset="0"/>
              <a:sym typeface="Arial"/>
            </a:endParaRPr>
          </a:p>
          <a:p>
            <a:pPr algn="ctr" defTabSz="451169" hangingPunct="0">
              <a:lnSpc>
                <a:spcPct val="90000"/>
              </a:lnSpc>
              <a:spcAft>
                <a:spcPts val="600"/>
              </a:spcAft>
              <a:defRPr sz="2500" b="0">
                <a:latin typeface="Arial"/>
                <a:ea typeface="Arial"/>
                <a:cs typeface="Arial"/>
                <a:sym typeface="Arial"/>
              </a:defRPr>
            </a:pPr>
            <a:r>
              <a:rPr lang="en-US" sz="1050" kern="0">
                <a:solidFill>
                  <a:schemeClr val="bg1"/>
                </a:solidFill>
                <a:latin typeface="+mj-lt"/>
                <a:ea typeface="Open Sans" panose="020B0606030504020204" pitchFamily="34" charset="0"/>
                <a:cs typeface="Arial" panose="020B0604020202020204" pitchFamily="34" charset="0"/>
                <a:sym typeface="Arial"/>
              </a:rPr>
              <a:t>Identity and context-based rules</a:t>
            </a:r>
          </a:p>
        </p:txBody>
      </p:sp>
      <p:sp>
        <p:nvSpPr>
          <p:cNvPr id="77" name="Oval 76">
            <a:extLst>
              <a:ext uri="{FF2B5EF4-FFF2-40B4-BE49-F238E27FC236}">
                <a16:creationId xmlns:a16="http://schemas.microsoft.com/office/drawing/2014/main" id="{E354A0B4-86C2-B4AB-509B-EFA3387CC86B}"/>
              </a:ext>
            </a:extLst>
          </p:cNvPr>
          <p:cNvSpPr>
            <a:spLocks noChangeAspect="1"/>
          </p:cNvSpPr>
          <p:nvPr/>
        </p:nvSpPr>
        <p:spPr>
          <a:xfrm>
            <a:off x="5693456" y="3139878"/>
            <a:ext cx="805089" cy="80508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608860"/>
            <a:endParaRPr lang="en-US" sz="2400" b="1">
              <a:solidFill>
                <a:schemeClr val="tx1"/>
              </a:solidFill>
              <a:cs typeface="Arial" panose="020B0604020202020204" pitchFamily="34" charset="0"/>
            </a:endParaRPr>
          </a:p>
        </p:txBody>
      </p:sp>
      <p:sp>
        <p:nvSpPr>
          <p:cNvPr id="81" name="TextBox 80">
            <a:extLst>
              <a:ext uri="{FF2B5EF4-FFF2-40B4-BE49-F238E27FC236}">
                <a16:creationId xmlns:a16="http://schemas.microsoft.com/office/drawing/2014/main" id="{314C6AA1-3636-5792-4C5A-867D9C12F985}"/>
              </a:ext>
            </a:extLst>
          </p:cNvPr>
          <p:cNvSpPr txBox="1"/>
          <p:nvPr/>
        </p:nvSpPr>
        <p:spPr>
          <a:xfrm>
            <a:off x="422778" y="3955871"/>
            <a:ext cx="2981558" cy="891013"/>
          </a:xfrm>
          <a:prstGeom prst="rect">
            <a:avLst/>
          </a:prstGeom>
          <a:noFill/>
        </p:spPr>
        <p:txBody>
          <a:bodyPr wrap="square" lIns="0" tIns="0" rIns="0" bIns="0" rtlCol="0">
            <a:spAutoFit/>
          </a:bodyPr>
          <a:lstStyle/>
          <a:p>
            <a:pPr algn="r">
              <a:lnSpc>
                <a:spcPct val="90000"/>
              </a:lnSpc>
              <a:spcAft>
                <a:spcPts val="300"/>
              </a:spcAft>
            </a:pPr>
            <a:r>
              <a:rPr lang="en-US" sz="1400" dirty="0">
                <a:cs typeface="Arial" panose="020B0604020202020204" pitchFamily="34" charset="0"/>
              </a:rPr>
              <a:t>Policy Enforcement Firewall</a:t>
            </a:r>
          </a:p>
          <a:p>
            <a:pPr algn="r">
              <a:lnSpc>
                <a:spcPct val="90000"/>
              </a:lnSpc>
              <a:spcAft>
                <a:spcPts val="300"/>
              </a:spcAft>
            </a:pPr>
            <a:r>
              <a:rPr lang="en-US" sz="1400" dirty="0">
                <a:cs typeface="Arial" panose="020B0604020202020204" pitchFamily="34" charset="0"/>
              </a:rPr>
              <a:t>SD-WAN</a:t>
            </a:r>
          </a:p>
          <a:p>
            <a:pPr algn="r">
              <a:lnSpc>
                <a:spcPct val="90000"/>
              </a:lnSpc>
              <a:spcAft>
                <a:spcPts val="300"/>
              </a:spcAft>
            </a:pPr>
            <a:r>
              <a:rPr lang="en-US" sz="1400" dirty="0">
                <a:cs typeface="Arial" panose="020B0604020202020204" pitchFamily="34" charset="0"/>
              </a:rPr>
              <a:t>Unified Threat Management/IDS/IPS</a:t>
            </a:r>
          </a:p>
          <a:p>
            <a:pPr algn="r">
              <a:lnSpc>
                <a:spcPct val="90000"/>
              </a:lnSpc>
              <a:spcAft>
                <a:spcPts val="300"/>
              </a:spcAft>
            </a:pPr>
            <a:r>
              <a:rPr lang="en-US" sz="1400" dirty="0">
                <a:cs typeface="Arial" panose="020B0604020202020204" pitchFamily="34" charset="0"/>
              </a:rPr>
              <a:t>360 Security Exchange</a:t>
            </a:r>
          </a:p>
        </p:txBody>
      </p:sp>
      <p:sp>
        <p:nvSpPr>
          <p:cNvPr id="82" name="TextBox 81">
            <a:extLst>
              <a:ext uri="{FF2B5EF4-FFF2-40B4-BE49-F238E27FC236}">
                <a16:creationId xmlns:a16="http://schemas.microsoft.com/office/drawing/2014/main" id="{D6132696-877B-D651-0CA9-94D641C9B8D2}"/>
              </a:ext>
            </a:extLst>
          </p:cNvPr>
          <p:cNvSpPr txBox="1"/>
          <p:nvPr/>
        </p:nvSpPr>
        <p:spPr>
          <a:xfrm>
            <a:off x="8959698" y="3101848"/>
            <a:ext cx="2384159" cy="426271"/>
          </a:xfrm>
          <a:prstGeom prst="rect">
            <a:avLst/>
          </a:prstGeom>
          <a:noFill/>
        </p:spPr>
        <p:txBody>
          <a:bodyPr wrap="square" lIns="0" tIns="0" rIns="0" bIns="0" rtlCol="0">
            <a:spAutoFit/>
          </a:bodyPr>
          <a:lstStyle/>
          <a:p>
            <a:pPr>
              <a:lnSpc>
                <a:spcPct val="90000"/>
              </a:lnSpc>
              <a:spcAft>
                <a:spcPts val="300"/>
              </a:spcAft>
            </a:pPr>
            <a:r>
              <a:rPr lang="en-US" sz="1400" dirty="0">
                <a:cs typeface="Arial" panose="020B0604020202020204" pitchFamily="34" charset="0"/>
              </a:rPr>
              <a:t>Cloud Auth</a:t>
            </a:r>
          </a:p>
          <a:p>
            <a:pPr>
              <a:lnSpc>
                <a:spcPct val="90000"/>
              </a:lnSpc>
              <a:spcAft>
                <a:spcPts val="300"/>
              </a:spcAft>
            </a:pPr>
            <a:r>
              <a:rPr lang="en-US" sz="1400" dirty="0">
                <a:cs typeface="Arial" panose="020B0604020202020204" pitchFamily="34" charset="0"/>
              </a:rPr>
              <a:t>ClearPass Policy Manager</a:t>
            </a:r>
          </a:p>
        </p:txBody>
      </p:sp>
      <p:sp>
        <p:nvSpPr>
          <p:cNvPr id="83" name="TextBox 82">
            <a:extLst>
              <a:ext uri="{FF2B5EF4-FFF2-40B4-BE49-F238E27FC236}">
                <a16:creationId xmlns:a16="http://schemas.microsoft.com/office/drawing/2014/main" id="{52C60BFA-A856-2D34-E9D9-2CD8EDD25128}"/>
              </a:ext>
            </a:extLst>
          </p:cNvPr>
          <p:cNvSpPr txBox="1"/>
          <p:nvPr/>
        </p:nvSpPr>
        <p:spPr>
          <a:xfrm>
            <a:off x="8618876" y="1456115"/>
            <a:ext cx="2386752" cy="387798"/>
          </a:xfrm>
          <a:prstGeom prst="rect">
            <a:avLst/>
          </a:prstGeom>
          <a:noFill/>
        </p:spPr>
        <p:txBody>
          <a:bodyPr wrap="square" lIns="0" tIns="0" rIns="0" bIns="0" rtlCol="0">
            <a:spAutoFit/>
          </a:bodyPr>
          <a:lstStyle/>
          <a:p>
            <a:pPr>
              <a:lnSpc>
                <a:spcPct val="90000"/>
              </a:lnSpc>
              <a:spcAft>
                <a:spcPts val="300"/>
              </a:spcAft>
            </a:pPr>
            <a:r>
              <a:rPr lang="en-US" sz="1400" dirty="0">
                <a:cs typeface="Arial" panose="020B0604020202020204" pitchFamily="34" charset="0"/>
              </a:rPr>
              <a:t>Client Insights</a:t>
            </a:r>
            <a:br>
              <a:rPr lang="en-US" sz="1400" dirty="0">
                <a:cs typeface="Arial" panose="020B0604020202020204" pitchFamily="34" charset="0"/>
              </a:rPr>
            </a:br>
            <a:r>
              <a:rPr lang="en-US" sz="1400" dirty="0">
                <a:cs typeface="Arial" panose="020B0604020202020204" pitchFamily="34" charset="0"/>
              </a:rPr>
              <a:t>ClearPass Device Insight</a:t>
            </a:r>
          </a:p>
        </p:txBody>
      </p:sp>
      <p:sp>
        <p:nvSpPr>
          <p:cNvPr id="87" name="TextBox 86">
            <a:extLst>
              <a:ext uri="{FF2B5EF4-FFF2-40B4-BE49-F238E27FC236}">
                <a16:creationId xmlns:a16="http://schemas.microsoft.com/office/drawing/2014/main" id="{F34A6F1C-57B0-86B4-EA00-C42CECF33B0E}"/>
              </a:ext>
            </a:extLst>
          </p:cNvPr>
          <p:cNvSpPr txBox="1"/>
          <p:nvPr/>
        </p:nvSpPr>
        <p:spPr>
          <a:xfrm>
            <a:off x="1060163" y="1686458"/>
            <a:ext cx="2195175" cy="890967"/>
          </a:xfrm>
          <a:prstGeom prst="rect">
            <a:avLst/>
          </a:prstGeom>
          <a:noFill/>
        </p:spPr>
        <p:txBody>
          <a:bodyPr wrap="square" lIns="0" tIns="0" rIns="0" bIns="0" rtlCol="0" anchor="ctr" anchorCtr="0">
            <a:spAutoFit/>
          </a:bodyPr>
          <a:lstStyle/>
          <a:p>
            <a:pPr algn="r">
              <a:lnSpc>
                <a:spcPct val="90000"/>
              </a:lnSpc>
              <a:spcAft>
                <a:spcPts val="300"/>
              </a:spcAft>
            </a:pPr>
            <a:r>
              <a:rPr lang="en-US" sz="1400" dirty="0">
                <a:cs typeface="Arial" panose="020B0604020202020204" pitchFamily="34" charset="0"/>
              </a:rPr>
              <a:t>ClearPass Policy Manager</a:t>
            </a:r>
          </a:p>
        </p:txBody>
      </p:sp>
      <p:grpSp>
        <p:nvGrpSpPr>
          <p:cNvPr id="88" name="Group 87">
            <a:extLst>
              <a:ext uri="{FF2B5EF4-FFF2-40B4-BE49-F238E27FC236}">
                <a16:creationId xmlns:a16="http://schemas.microsoft.com/office/drawing/2014/main" id="{0182AEC4-6A8E-8057-39EE-DEA7E0430F91}"/>
              </a:ext>
            </a:extLst>
          </p:cNvPr>
          <p:cNvGrpSpPr/>
          <p:nvPr/>
        </p:nvGrpSpPr>
        <p:grpSpPr>
          <a:xfrm>
            <a:off x="7198370" y="1401764"/>
            <a:ext cx="1328115" cy="513126"/>
            <a:chOff x="6958021" y="1155647"/>
            <a:chExt cx="1807156" cy="513126"/>
          </a:xfrm>
        </p:grpSpPr>
        <p:cxnSp>
          <p:nvCxnSpPr>
            <p:cNvPr id="89" name="Straight Connector 88">
              <a:extLst>
                <a:ext uri="{FF2B5EF4-FFF2-40B4-BE49-F238E27FC236}">
                  <a16:creationId xmlns:a16="http://schemas.microsoft.com/office/drawing/2014/main" id="{B7EB95F7-1BF6-A9D7-EA34-1A8490C0EE2E}"/>
                </a:ext>
              </a:extLst>
            </p:cNvPr>
            <p:cNvCxnSpPr>
              <a:cxnSpLocks/>
            </p:cNvCxnSpPr>
            <p:nvPr/>
          </p:nvCxnSpPr>
          <p:spPr>
            <a:xfrm>
              <a:off x="8765177" y="1155647"/>
              <a:ext cx="0" cy="513126"/>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2532757-B48F-82BF-6B49-B56934FE61C5}"/>
                </a:ext>
              </a:extLst>
            </p:cNvPr>
            <p:cNvCxnSpPr>
              <a:cxnSpLocks/>
            </p:cNvCxnSpPr>
            <p:nvPr/>
          </p:nvCxnSpPr>
          <p:spPr>
            <a:xfrm flipH="1">
              <a:off x="6958021" y="1412210"/>
              <a:ext cx="1807156" cy="0"/>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C66F9D9E-0C9E-A909-B88D-8C8E8FF058DD}"/>
              </a:ext>
            </a:extLst>
          </p:cNvPr>
          <p:cNvGrpSpPr/>
          <p:nvPr/>
        </p:nvGrpSpPr>
        <p:grpSpPr>
          <a:xfrm>
            <a:off x="8310368" y="3040578"/>
            <a:ext cx="515378" cy="513126"/>
            <a:chOff x="8249799" y="1155647"/>
            <a:chExt cx="515378" cy="513126"/>
          </a:xfrm>
        </p:grpSpPr>
        <p:cxnSp>
          <p:nvCxnSpPr>
            <p:cNvPr id="92" name="Straight Connector 91">
              <a:extLst>
                <a:ext uri="{FF2B5EF4-FFF2-40B4-BE49-F238E27FC236}">
                  <a16:creationId xmlns:a16="http://schemas.microsoft.com/office/drawing/2014/main" id="{E9D72A6B-1560-6F40-5446-46EABE9633BD}"/>
                </a:ext>
              </a:extLst>
            </p:cNvPr>
            <p:cNvCxnSpPr>
              <a:cxnSpLocks/>
            </p:cNvCxnSpPr>
            <p:nvPr/>
          </p:nvCxnSpPr>
          <p:spPr>
            <a:xfrm>
              <a:off x="8765177" y="1155647"/>
              <a:ext cx="0" cy="513126"/>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46938E8-8273-308C-DCE5-8E5E7F881139}"/>
                </a:ext>
              </a:extLst>
            </p:cNvPr>
            <p:cNvCxnSpPr>
              <a:cxnSpLocks/>
            </p:cNvCxnSpPr>
            <p:nvPr/>
          </p:nvCxnSpPr>
          <p:spPr>
            <a:xfrm flipH="1">
              <a:off x="8249799" y="1412210"/>
              <a:ext cx="515378" cy="0"/>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74CF1E1D-DC15-61E2-8124-03F0AD55E6FB}"/>
              </a:ext>
            </a:extLst>
          </p:cNvPr>
          <p:cNvGrpSpPr/>
          <p:nvPr/>
        </p:nvGrpSpPr>
        <p:grpSpPr>
          <a:xfrm rot="10800000">
            <a:off x="3503927" y="3899871"/>
            <a:ext cx="515379" cy="1003013"/>
            <a:chOff x="8596266" y="861740"/>
            <a:chExt cx="515379" cy="1003013"/>
          </a:xfrm>
        </p:grpSpPr>
        <p:cxnSp>
          <p:nvCxnSpPr>
            <p:cNvPr id="95" name="Straight Connector 94">
              <a:extLst>
                <a:ext uri="{FF2B5EF4-FFF2-40B4-BE49-F238E27FC236}">
                  <a16:creationId xmlns:a16="http://schemas.microsoft.com/office/drawing/2014/main" id="{162E42A6-FC0E-75A5-0299-9471467A6011}"/>
                </a:ext>
              </a:extLst>
            </p:cNvPr>
            <p:cNvCxnSpPr>
              <a:cxnSpLocks/>
            </p:cNvCxnSpPr>
            <p:nvPr/>
          </p:nvCxnSpPr>
          <p:spPr>
            <a:xfrm rot="10800000" flipV="1">
              <a:off x="9106649" y="861740"/>
              <a:ext cx="4996" cy="1003013"/>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AB7A46D-E017-E884-93FC-A64BFFD23A64}"/>
                </a:ext>
              </a:extLst>
            </p:cNvPr>
            <p:cNvCxnSpPr>
              <a:cxnSpLocks/>
            </p:cNvCxnSpPr>
            <p:nvPr/>
          </p:nvCxnSpPr>
          <p:spPr>
            <a:xfrm flipH="1">
              <a:off x="8596266" y="1363247"/>
              <a:ext cx="515378" cy="0"/>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05468EF-4EB9-C5E6-74C9-64E5C9203CCA}"/>
              </a:ext>
            </a:extLst>
          </p:cNvPr>
          <p:cNvGrpSpPr/>
          <p:nvPr/>
        </p:nvGrpSpPr>
        <p:grpSpPr>
          <a:xfrm rot="10800000">
            <a:off x="3404336" y="1972933"/>
            <a:ext cx="1474057" cy="313013"/>
            <a:chOff x="7298962" y="1229632"/>
            <a:chExt cx="1474057" cy="313013"/>
          </a:xfrm>
        </p:grpSpPr>
        <p:cxnSp>
          <p:nvCxnSpPr>
            <p:cNvPr id="98" name="Straight Connector 97">
              <a:extLst>
                <a:ext uri="{FF2B5EF4-FFF2-40B4-BE49-F238E27FC236}">
                  <a16:creationId xmlns:a16="http://schemas.microsoft.com/office/drawing/2014/main" id="{907AAB2B-4B4C-5D5F-48BE-E2BA221CC662}"/>
                </a:ext>
              </a:extLst>
            </p:cNvPr>
            <p:cNvCxnSpPr>
              <a:cxnSpLocks/>
            </p:cNvCxnSpPr>
            <p:nvPr/>
          </p:nvCxnSpPr>
          <p:spPr>
            <a:xfrm rot="10800000" flipV="1">
              <a:off x="8773019" y="1229632"/>
              <a:ext cx="0" cy="313013"/>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687F2D83-50F3-99BF-E4B9-1BC44837AF57}"/>
                </a:ext>
              </a:extLst>
            </p:cNvPr>
            <p:cNvCxnSpPr>
              <a:cxnSpLocks/>
            </p:cNvCxnSpPr>
            <p:nvPr/>
          </p:nvCxnSpPr>
          <p:spPr>
            <a:xfrm rot="10800000">
              <a:off x="7298962" y="1386139"/>
              <a:ext cx="1474057" cy="0"/>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8095BE99-7D79-0B2E-B0A4-7E69560EADDD}"/>
              </a:ext>
            </a:extLst>
          </p:cNvPr>
          <p:cNvSpPr txBox="1"/>
          <p:nvPr/>
        </p:nvSpPr>
        <p:spPr>
          <a:xfrm>
            <a:off x="3179512" y="5908740"/>
            <a:ext cx="2973064" cy="658642"/>
          </a:xfrm>
          <a:prstGeom prst="rect">
            <a:avLst/>
          </a:prstGeom>
          <a:noFill/>
        </p:spPr>
        <p:txBody>
          <a:bodyPr wrap="square" lIns="0" tIns="0" rIns="0" bIns="0" rtlCol="0">
            <a:spAutoFit/>
          </a:bodyPr>
          <a:lstStyle/>
          <a:p>
            <a:pPr>
              <a:lnSpc>
                <a:spcPct val="90000"/>
              </a:lnSpc>
              <a:spcAft>
                <a:spcPts val="300"/>
              </a:spcAft>
            </a:pPr>
            <a:r>
              <a:rPr lang="en-US" sz="1400" b="1" i="1" dirty="0" err="1">
                <a:cs typeface="Arial" panose="020B0604020202020204" pitchFamily="34" charset="0"/>
              </a:rPr>
              <a:t>Scentralizowane</a:t>
            </a:r>
            <a:endParaRPr lang="en-US" sz="1400" b="1" dirty="0">
              <a:cs typeface="Arial" panose="020B0604020202020204" pitchFamily="34" charset="0"/>
            </a:endParaRPr>
          </a:p>
          <a:p>
            <a:pPr marL="285750" indent="-285750">
              <a:lnSpc>
                <a:spcPct val="90000"/>
              </a:lnSpc>
              <a:spcAft>
                <a:spcPts val="300"/>
              </a:spcAft>
              <a:buFont typeface="Arial" panose="020B0604020202020204" pitchFamily="34" charset="0"/>
              <a:buChar char="•"/>
            </a:pPr>
            <a:r>
              <a:rPr lang="en-US" sz="1400" dirty="0">
                <a:cs typeface="Arial" panose="020B0604020202020204" pitchFamily="34" charset="0"/>
              </a:rPr>
              <a:t>ClearPass Policy Manager</a:t>
            </a:r>
          </a:p>
          <a:p>
            <a:pPr marL="285750" indent="-285750">
              <a:lnSpc>
                <a:spcPct val="90000"/>
              </a:lnSpc>
              <a:spcAft>
                <a:spcPts val="300"/>
              </a:spcAft>
              <a:buFont typeface="Arial" panose="020B0604020202020204" pitchFamily="34" charset="0"/>
              <a:buChar char="•"/>
            </a:pPr>
            <a:r>
              <a:rPr lang="en-US" sz="1400" dirty="0">
                <a:cs typeface="Arial" panose="020B0604020202020204" pitchFamily="34" charset="0"/>
              </a:rPr>
              <a:t>Policy Enforcement Firewall</a:t>
            </a:r>
          </a:p>
        </p:txBody>
      </p:sp>
      <p:sp>
        <p:nvSpPr>
          <p:cNvPr id="101" name="TextBox 100">
            <a:extLst>
              <a:ext uri="{FF2B5EF4-FFF2-40B4-BE49-F238E27FC236}">
                <a16:creationId xmlns:a16="http://schemas.microsoft.com/office/drawing/2014/main" id="{091EEF0D-4450-A817-EBAE-AC7B589DA12C}"/>
              </a:ext>
            </a:extLst>
          </p:cNvPr>
          <p:cNvSpPr txBox="1"/>
          <p:nvPr/>
        </p:nvSpPr>
        <p:spPr>
          <a:xfrm>
            <a:off x="5333175" y="6044163"/>
            <a:ext cx="1525651" cy="387798"/>
          </a:xfrm>
          <a:prstGeom prst="rect">
            <a:avLst/>
          </a:prstGeom>
          <a:solidFill>
            <a:schemeClr val="bg1"/>
          </a:solidFill>
          <a:ln>
            <a:noFill/>
          </a:ln>
        </p:spPr>
        <p:txBody>
          <a:bodyPr wrap="square" lIns="0" tIns="0" rIns="0" bIns="0" rtlCol="0" anchor="ctr" anchorCtr="0">
            <a:spAutoFit/>
          </a:bodyPr>
          <a:lstStyle/>
          <a:p>
            <a:pPr algn="ctr">
              <a:lnSpc>
                <a:spcPct val="90000"/>
              </a:lnSpc>
              <a:spcAft>
                <a:spcPts val="300"/>
              </a:spcAft>
            </a:pPr>
            <a:r>
              <a:rPr lang="pl-PL" sz="1400" b="1" dirty="0">
                <a:cs typeface="Arial" panose="020B0604020202020204" pitchFamily="34" charset="0"/>
              </a:rPr>
              <a:t>Dynamiczna segmentacja</a:t>
            </a:r>
            <a:endParaRPr lang="en-US" sz="1400" b="1" dirty="0">
              <a:cs typeface="Arial" panose="020B0604020202020204" pitchFamily="34" charset="0"/>
            </a:endParaRPr>
          </a:p>
        </p:txBody>
      </p:sp>
      <p:sp>
        <p:nvSpPr>
          <p:cNvPr id="102" name="Rectangle 101">
            <a:extLst>
              <a:ext uri="{FF2B5EF4-FFF2-40B4-BE49-F238E27FC236}">
                <a16:creationId xmlns:a16="http://schemas.microsoft.com/office/drawing/2014/main" id="{00AA878D-0F5E-5629-2280-0286F03D3505}"/>
              </a:ext>
            </a:extLst>
          </p:cNvPr>
          <p:cNvSpPr/>
          <p:nvPr/>
        </p:nvSpPr>
        <p:spPr bwMode="ltGray">
          <a:xfrm>
            <a:off x="9560362" y="6276370"/>
            <a:ext cx="1648089" cy="319301"/>
          </a:xfrm>
          <a:prstGeom prst="rect">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err="1">
              <a:solidFill>
                <a:schemeClr val="tx1"/>
              </a:solidFill>
            </a:endParaRPr>
          </a:p>
        </p:txBody>
      </p:sp>
      <p:sp>
        <p:nvSpPr>
          <p:cNvPr id="103" name="TextBox 102">
            <a:extLst>
              <a:ext uri="{FF2B5EF4-FFF2-40B4-BE49-F238E27FC236}">
                <a16:creationId xmlns:a16="http://schemas.microsoft.com/office/drawing/2014/main" id="{686A7571-C992-AA6D-62B6-4F1DD8AEF537}"/>
              </a:ext>
            </a:extLst>
          </p:cNvPr>
          <p:cNvSpPr txBox="1"/>
          <p:nvPr/>
        </p:nvSpPr>
        <p:spPr>
          <a:xfrm>
            <a:off x="6870945" y="5908740"/>
            <a:ext cx="5174154" cy="658642"/>
          </a:xfrm>
          <a:prstGeom prst="rect">
            <a:avLst/>
          </a:prstGeom>
          <a:noFill/>
        </p:spPr>
        <p:txBody>
          <a:bodyPr wrap="square" lIns="0" tIns="0" rIns="0" bIns="0" rtlCol="0">
            <a:spAutoFit/>
          </a:bodyPr>
          <a:lstStyle/>
          <a:p>
            <a:pPr>
              <a:lnSpc>
                <a:spcPct val="90000"/>
              </a:lnSpc>
              <a:spcAft>
                <a:spcPts val="300"/>
              </a:spcAft>
            </a:pPr>
            <a:r>
              <a:rPr lang="en-US" sz="1400" b="1" i="1" dirty="0" err="1">
                <a:cs typeface="Arial" panose="020B0604020202020204" pitchFamily="34" charset="0"/>
              </a:rPr>
              <a:t>Rozproszone</a:t>
            </a:r>
            <a:r>
              <a:rPr lang="en-US" sz="1400" b="1" i="1" dirty="0">
                <a:cs typeface="Arial" panose="020B0604020202020204" pitchFamily="34" charset="0"/>
              </a:rPr>
              <a:t> z Central Net Conductor</a:t>
            </a:r>
            <a:endParaRPr lang="en-US" sz="1400" b="1" dirty="0">
              <a:cs typeface="Arial" panose="020B0604020202020204" pitchFamily="34" charset="0"/>
            </a:endParaRPr>
          </a:p>
          <a:p>
            <a:pPr marL="285750" indent="-285750">
              <a:lnSpc>
                <a:spcPct val="90000"/>
              </a:lnSpc>
              <a:spcAft>
                <a:spcPts val="300"/>
              </a:spcAft>
              <a:buFont typeface="Arial" panose="020B0604020202020204" pitchFamily="34" charset="0"/>
              <a:buChar char="•"/>
            </a:pPr>
            <a:r>
              <a:rPr lang="en-US" sz="1400" dirty="0">
                <a:cs typeface="Arial" panose="020B0604020202020204" pitchFamily="34" charset="0"/>
              </a:rPr>
              <a:t>Policy Manager, Flexible NAC</a:t>
            </a:r>
          </a:p>
          <a:p>
            <a:pPr marL="285750" indent="-285750">
              <a:lnSpc>
                <a:spcPct val="90000"/>
              </a:lnSpc>
              <a:spcAft>
                <a:spcPts val="300"/>
              </a:spcAft>
              <a:buFont typeface="Arial" panose="020B0604020202020204" pitchFamily="34" charset="0"/>
              <a:buChar char="•"/>
            </a:pPr>
            <a:r>
              <a:rPr lang="en-US" sz="1400" dirty="0">
                <a:cs typeface="Arial" panose="020B0604020202020204" pitchFamily="34" charset="0"/>
              </a:rPr>
              <a:t>Inline Enforcement via Switches &amp; Gateways</a:t>
            </a:r>
          </a:p>
        </p:txBody>
      </p:sp>
      <p:grpSp>
        <p:nvGrpSpPr>
          <p:cNvPr id="104" name="Group 103">
            <a:extLst>
              <a:ext uri="{FF2B5EF4-FFF2-40B4-BE49-F238E27FC236}">
                <a16:creationId xmlns:a16="http://schemas.microsoft.com/office/drawing/2014/main" id="{C60E0623-A87D-C0FF-4483-363FBF95CA67}"/>
              </a:ext>
            </a:extLst>
          </p:cNvPr>
          <p:cNvGrpSpPr/>
          <p:nvPr/>
        </p:nvGrpSpPr>
        <p:grpSpPr>
          <a:xfrm>
            <a:off x="5691015" y="5766125"/>
            <a:ext cx="809970" cy="193899"/>
            <a:chOff x="5691015" y="5766125"/>
            <a:chExt cx="809970" cy="193899"/>
          </a:xfrm>
        </p:grpSpPr>
        <p:cxnSp>
          <p:nvCxnSpPr>
            <p:cNvPr id="105" name="Straight Connector 104">
              <a:extLst>
                <a:ext uri="{FF2B5EF4-FFF2-40B4-BE49-F238E27FC236}">
                  <a16:creationId xmlns:a16="http://schemas.microsoft.com/office/drawing/2014/main" id="{E88BCC71-438E-CD22-7DD5-BC01D99CCAEF}"/>
                </a:ext>
              </a:extLst>
            </p:cNvPr>
            <p:cNvCxnSpPr>
              <a:cxnSpLocks/>
            </p:cNvCxnSpPr>
            <p:nvPr/>
          </p:nvCxnSpPr>
          <p:spPr>
            <a:xfrm>
              <a:off x="6096000" y="5766125"/>
              <a:ext cx="0" cy="193899"/>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F24C363-57CF-77C4-958A-402A6EFAF391}"/>
                </a:ext>
              </a:extLst>
            </p:cNvPr>
            <p:cNvCxnSpPr>
              <a:cxnSpLocks/>
            </p:cNvCxnSpPr>
            <p:nvPr/>
          </p:nvCxnSpPr>
          <p:spPr>
            <a:xfrm rot="5400000">
              <a:off x="6096000" y="5555039"/>
              <a:ext cx="0" cy="809970"/>
            </a:xfrm>
            <a:prstGeom prst="line">
              <a:avLst/>
            </a:prstGeom>
            <a:ln w="12700">
              <a:solidFill>
                <a:srgbClr val="01A982"/>
              </a:solidFill>
            </a:ln>
          </p:spPr>
          <p:style>
            <a:lnRef idx="1">
              <a:schemeClr val="accent1"/>
            </a:lnRef>
            <a:fillRef idx="0">
              <a:schemeClr val="accent1"/>
            </a:fillRef>
            <a:effectRef idx="0">
              <a:schemeClr val="accent1"/>
            </a:effectRef>
            <a:fontRef idx="minor">
              <a:schemeClr val="tx1"/>
            </a:fontRef>
          </p:style>
        </p:cxnSp>
      </p:grpSp>
      <p:pic>
        <p:nvPicPr>
          <p:cNvPr id="107" name="Picture 106">
            <a:extLst>
              <a:ext uri="{FF2B5EF4-FFF2-40B4-BE49-F238E27FC236}">
                <a16:creationId xmlns:a16="http://schemas.microsoft.com/office/drawing/2014/main" id="{C9DB1B7E-EC0B-3D78-84FC-282E6B0013E9}"/>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4995425" y="1676399"/>
            <a:ext cx="377164" cy="396000"/>
          </a:xfrm>
          <a:prstGeom prst="rect">
            <a:avLst/>
          </a:prstGeom>
        </p:spPr>
      </p:pic>
      <p:pic>
        <p:nvPicPr>
          <p:cNvPr id="108" name="Picture 107">
            <a:extLst>
              <a:ext uri="{FF2B5EF4-FFF2-40B4-BE49-F238E27FC236}">
                <a16:creationId xmlns:a16="http://schemas.microsoft.com/office/drawing/2014/main" id="{7DDE4141-E40D-D1F0-B504-0E61345D01B3}"/>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6628266" y="1676399"/>
            <a:ext cx="491081" cy="396000"/>
          </a:xfrm>
          <a:prstGeom prst="rect">
            <a:avLst/>
          </a:prstGeom>
        </p:spPr>
      </p:pic>
      <p:pic>
        <p:nvPicPr>
          <p:cNvPr id="109" name="Picture 108">
            <a:extLst>
              <a:ext uri="{FF2B5EF4-FFF2-40B4-BE49-F238E27FC236}">
                <a16:creationId xmlns:a16="http://schemas.microsoft.com/office/drawing/2014/main" id="{FF4B5035-69D6-4F7D-7B7C-2521887629DB}"/>
              </a:ext>
            </a:extLst>
          </p:cNvPr>
          <p:cNvPicPr>
            <a:picLocks noChangeAspect="1"/>
          </p:cNvPicPr>
          <p:nvPr/>
        </p:nvPicPr>
        <p:blipFill>
          <a:blip r:embed="rId7" cstate="print">
            <a:biLevel thresh="50000"/>
            <a:extLst>
              <a:ext uri="{28A0092B-C50C-407E-A947-70E740481C1C}">
                <a14:useLocalDpi xmlns:a14="http://schemas.microsoft.com/office/drawing/2010/main" val="0"/>
              </a:ext>
            </a:extLst>
          </a:blip>
          <a:srcRect/>
          <a:stretch/>
        </p:blipFill>
        <p:spPr>
          <a:xfrm>
            <a:off x="5901052" y="4190788"/>
            <a:ext cx="389897" cy="396000"/>
          </a:xfrm>
          <a:prstGeom prst="rect">
            <a:avLst/>
          </a:prstGeom>
        </p:spPr>
      </p:pic>
      <p:pic>
        <p:nvPicPr>
          <p:cNvPr id="110" name="Picture 109">
            <a:extLst>
              <a:ext uri="{FF2B5EF4-FFF2-40B4-BE49-F238E27FC236}">
                <a16:creationId xmlns:a16="http://schemas.microsoft.com/office/drawing/2014/main" id="{AB2E3D38-BE3F-A42C-8E18-8BDB06F0E69A}"/>
              </a:ext>
            </a:extLst>
          </p:cNvPr>
          <p:cNvPicPr>
            <a:picLocks noChangeAspect="1"/>
          </p:cNvPicPr>
          <p:nvPr/>
        </p:nvPicPr>
        <p:blipFill rotWithShape="1">
          <a:blip r:embed="rId8" cstate="print">
            <a:biLevel thresh="25000"/>
            <a:extLst>
              <a:ext uri="{28A0092B-C50C-407E-A947-70E740481C1C}">
                <a14:useLocalDpi xmlns:a14="http://schemas.microsoft.com/office/drawing/2010/main" val="0"/>
              </a:ext>
            </a:extLst>
          </a:blip>
          <a:srcRect l="17213" t="982" r="18730"/>
          <a:stretch/>
        </p:blipFill>
        <p:spPr>
          <a:xfrm>
            <a:off x="7257815" y="3378958"/>
            <a:ext cx="256184" cy="396000"/>
          </a:xfrm>
          <a:prstGeom prst="rect">
            <a:avLst/>
          </a:prstGeom>
        </p:spPr>
      </p:pic>
      <p:pic>
        <p:nvPicPr>
          <p:cNvPr id="111" name="Picture 110">
            <a:extLst>
              <a:ext uri="{FF2B5EF4-FFF2-40B4-BE49-F238E27FC236}">
                <a16:creationId xmlns:a16="http://schemas.microsoft.com/office/drawing/2014/main" id="{485652C2-67EA-87B9-4ACC-12B1C04903C2}"/>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rcRect/>
          <a:stretch/>
        </p:blipFill>
        <p:spPr>
          <a:xfrm>
            <a:off x="4519505" y="3246315"/>
            <a:ext cx="372623" cy="396000"/>
          </a:xfrm>
          <a:prstGeom prst="rect">
            <a:avLst/>
          </a:prstGeom>
        </p:spPr>
      </p:pic>
      <p:grpSp>
        <p:nvGrpSpPr>
          <p:cNvPr id="4" name="Group 3">
            <a:extLst>
              <a:ext uri="{FF2B5EF4-FFF2-40B4-BE49-F238E27FC236}">
                <a16:creationId xmlns:a16="http://schemas.microsoft.com/office/drawing/2014/main" id="{CF26D1C3-21F2-8B3A-E44A-0043288A0FA3}"/>
              </a:ext>
            </a:extLst>
          </p:cNvPr>
          <p:cNvGrpSpPr/>
          <p:nvPr/>
        </p:nvGrpSpPr>
        <p:grpSpPr>
          <a:xfrm>
            <a:off x="3623180" y="1071040"/>
            <a:ext cx="4943354" cy="4756322"/>
            <a:chOff x="6463573" y="1003004"/>
            <a:chExt cx="5120970" cy="5011590"/>
          </a:xfrm>
        </p:grpSpPr>
        <p:pic>
          <p:nvPicPr>
            <p:cNvPr id="5" name="wheel.png" descr="wheel.png">
              <a:extLst>
                <a:ext uri="{FF2B5EF4-FFF2-40B4-BE49-F238E27FC236}">
                  <a16:creationId xmlns:a16="http://schemas.microsoft.com/office/drawing/2014/main" id="{0B09C4B1-C74C-4BDE-A293-8EEEA768CA1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63573" y="1003004"/>
              <a:ext cx="5011590" cy="5011590"/>
            </a:xfrm>
            <a:prstGeom prst="rect">
              <a:avLst/>
            </a:prstGeom>
            <a:noFill/>
            <a:ln w="3175">
              <a:noFill/>
              <a:miter lim="400000"/>
            </a:ln>
          </p:spPr>
        </p:pic>
        <p:sp>
          <p:nvSpPr>
            <p:cNvPr id="6" name="VISIBILITY…">
              <a:extLst>
                <a:ext uri="{FF2B5EF4-FFF2-40B4-BE49-F238E27FC236}">
                  <a16:creationId xmlns:a16="http://schemas.microsoft.com/office/drawing/2014/main" id="{761C7DCD-5319-9B07-FF62-89F8741C3111}"/>
                </a:ext>
              </a:extLst>
            </p:cNvPr>
            <p:cNvSpPr txBox="1"/>
            <p:nvPr/>
          </p:nvSpPr>
          <p:spPr>
            <a:xfrm>
              <a:off x="7763452" y="1759813"/>
              <a:ext cx="2411916" cy="542911"/>
            </a:xfrm>
            <a:prstGeom prst="rect">
              <a:avLst/>
            </a:prstGeom>
            <a:ln w="3175">
              <a:noFill/>
              <a:miter lim="400000"/>
            </a:ln>
            <a:extLst>
              <a:ext uri="{C572A759-6A51-4108-AA02-DFA0A04FC94B}">
                <ma14:wrappingTextBoxFlag xmlns="" xmlns:ma14="http://schemas.microsoft.com/office/mac/drawingml/2011/main" val="1"/>
              </a:ext>
            </a:extLst>
          </p:spPr>
          <p:txBody>
            <a:bodyPr lIns="22577" tIns="22577" rIns="22577" bIns="22577" anchor="ctr">
              <a:spAutoFit/>
            </a:bodyPr>
            <a:lstStyle/>
            <a:p>
              <a:pPr marL="0" marR="0" lvl="0" indent="0" algn="ctr" defTabSz="451169" rtl="0" eaLnBrk="1" fontAlgn="auto" latinLnBrk="0" hangingPunct="0">
                <a:lnSpc>
                  <a:spcPct val="70000"/>
                </a:lnSpc>
                <a:spcBef>
                  <a:spcPts val="600"/>
                </a:spcBef>
                <a:spcAft>
                  <a:spcPts val="0"/>
                </a:spcAft>
                <a:buClrTx/>
                <a:buSzTx/>
                <a:buFontTx/>
                <a:buNone/>
                <a:tabLst/>
                <a:defRPr sz="3000">
                  <a:latin typeface="Arial"/>
                  <a:ea typeface="Arial"/>
                  <a:cs typeface="Arial"/>
                  <a:sym typeface="Arial"/>
                </a:defRPr>
              </a:pPr>
              <a:r>
                <a:rPr kumimoji="0" lang="pl-PL" sz="1167" b="1" i="0" u="none" strike="noStrike" kern="0" cap="none" spc="0" normalizeH="0" baseline="0" noProof="0" dirty="0">
                  <a:ln>
                    <a:noFill/>
                  </a:ln>
                  <a:solidFill>
                    <a:srgbClr val="FFFFFF"/>
                  </a:solidFill>
                  <a:effectLst/>
                  <a:uLnTx/>
                  <a:uFillTx/>
                  <a:latin typeface="Arial"/>
                  <a:cs typeface="Arial"/>
                  <a:sym typeface="Arial"/>
                </a:rPr>
                <a:t>WIDOCZNOŚĆ</a:t>
              </a:r>
              <a:endParaRPr kumimoji="0" sz="1167" b="1" i="0" u="none" strike="noStrike" kern="0" cap="none" spc="0" normalizeH="0" baseline="0" noProof="0" dirty="0">
                <a:ln>
                  <a:noFill/>
                </a:ln>
                <a:solidFill>
                  <a:srgbClr val="FFFFFF"/>
                </a:solidFill>
                <a:effectLst/>
                <a:uLnTx/>
                <a:uFillTx/>
                <a:latin typeface="Arial"/>
                <a:cs typeface="Arial"/>
                <a:sym typeface="Arial"/>
              </a:endParaRPr>
            </a:p>
            <a:p>
              <a:pPr marL="0" marR="0" lvl="0" indent="0" algn="ctr" defTabSz="451169" rtl="0" eaLnBrk="1" fontAlgn="auto" latinLnBrk="0" hangingPunct="0">
                <a:lnSpc>
                  <a:spcPct val="70000"/>
                </a:lnSpc>
                <a:spcBef>
                  <a:spcPts val="600"/>
                </a:spcBef>
                <a:spcAft>
                  <a:spcPts val="0"/>
                </a:spcAft>
                <a:buClrTx/>
                <a:buSzTx/>
                <a:buFontTx/>
                <a:buNone/>
                <a:tabLst/>
                <a:defRPr sz="2500" b="0">
                  <a:latin typeface="Arial"/>
                  <a:ea typeface="Arial"/>
                  <a:cs typeface="Arial"/>
                  <a:sym typeface="Arial"/>
                </a:defRPr>
              </a:pPr>
              <a:r>
                <a:rPr kumimoji="0" sz="1000" b="0" i="0" u="none" strike="noStrike" kern="0" cap="none" spc="0" normalizeH="0" baseline="0" noProof="0" dirty="0">
                  <a:ln>
                    <a:noFill/>
                  </a:ln>
                  <a:solidFill>
                    <a:srgbClr val="FFFFFF"/>
                  </a:solidFill>
                  <a:effectLst/>
                  <a:uLnTx/>
                  <a:uFillTx/>
                  <a:latin typeface="Arial"/>
                  <a:cs typeface="Arial"/>
                  <a:sym typeface="Arial"/>
                </a:rPr>
                <a:t>Device Discovery and Profiling</a:t>
              </a:r>
            </a:p>
            <a:p>
              <a:pPr marL="0" marR="0" lvl="0" indent="0" algn="ctr" defTabSz="451169" rtl="0" eaLnBrk="1" fontAlgn="auto" latinLnBrk="0" hangingPunct="0">
                <a:lnSpc>
                  <a:spcPct val="70000"/>
                </a:lnSpc>
                <a:spcBef>
                  <a:spcPts val="600"/>
                </a:spcBef>
                <a:spcAft>
                  <a:spcPts val="0"/>
                </a:spcAft>
                <a:buClrTx/>
                <a:buSzTx/>
                <a:buFontTx/>
                <a:buNone/>
                <a:tabLst/>
                <a:defRPr sz="2500" b="0">
                  <a:latin typeface="Arial"/>
                  <a:ea typeface="Arial"/>
                  <a:cs typeface="Arial"/>
                  <a:sym typeface="Arial"/>
                </a:defRPr>
              </a:pPr>
              <a:r>
                <a:rPr kumimoji="0" sz="1000" b="0" i="0" u="none" strike="noStrike" kern="0" cap="none" spc="0" normalizeH="0" baseline="0" noProof="0" dirty="0">
                  <a:ln>
                    <a:noFill/>
                  </a:ln>
                  <a:solidFill>
                    <a:srgbClr val="FFFFFF"/>
                  </a:solidFill>
                  <a:effectLst/>
                  <a:uLnTx/>
                  <a:uFillTx/>
                  <a:latin typeface="Arial"/>
                  <a:cs typeface="Arial"/>
                  <a:sym typeface="Arial"/>
                </a:rPr>
                <a:t>Custom Fingerprinting</a:t>
              </a:r>
            </a:p>
          </p:txBody>
        </p:sp>
        <p:sp>
          <p:nvSpPr>
            <p:cNvPr id="7" name="AUTHENTICATION…">
              <a:extLst>
                <a:ext uri="{FF2B5EF4-FFF2-40B4-BE49-F238E27FC236}">
                  <a16:creationId xmlns:a16="http://schemas.microsoft.com/office/drawing/2014/main" id="{BB5CA664-4473-4387-3146-A38BDD896223}"/>
                </a:ext>
              </a:extLst>
            </p:cNvPr>
            <p:cNvSpPr txBox="1"/>
            <p:nvPr/>
          </p:nvSpPr>
          <p:spPr>
            <a:xfrm>
              <a:off x="9481616" y="3042150"/>
              <a:ext cx="2102927" cy="542911"/>
            </a:xfrm>
            <a:prstGeom prst="rect">
              <a:avLst/>
            </a:prstGeom>
            <a:ln w="3175">
              <a:noFill/>
              <a:miter lim="400000"/>
            </a:ln>
            <a:extLst>
              <a:ext uri="{C572A759-6A51-4108-AA02-DFA0A04FC94B}">
                <ma14:wrappingTextBoxFlag xmlns="" xmlns:ma14="http://schemas.microsoft.com/office/mac/drawingml/2011/main" val="1"/>
              </a:ext>
            </a:extLst>
          </p:spPr>
          <p:txBody>
            <a:bodyPr lIns="22577" tIns="22577" rIns="22577" bIns="22577" anchor="ctr">
              <a:spAutoFit/>
            </a:bodyPr>
            <a:lstStyle/>
            <a:p>
              <a:pPr marL="0" marR="0" lvl="0" indent="0" algn="ctr" defTabSz="451169" rtl="0" eaLnBrk="1" fontAlgn="auto" latinLnBrk="0" hangingPunct="0">
                <a:lnSpc>
                  <a:spcPct val="70000"/>
                </a:lnSpc>
                <a:spcBef>
                  <a:spcPts val="600"/>
                </a:spcBef>
                <a:spcAft>
                  <a:spcPts val="0"/>
                </a:spcAft>
                <a:buClrTx/>
                <a:buSzTx/>
                <a:buFontTx/>
                <a:buNone/>
                <a:tabLst/>
                <a:defRPr sz="3000">
                  <a:latin typeface="Arial"/>
                  <a:ea typeface="Arial"/>
                  <a:cs typeface="Arial"/>
                  <a:sym typeface="Arial"/>
                </a:defRPr>
              </a:pPr>
              <a:r>
                <a:rPr kumimoji="0" lang="pl-PL" sz="1167" b="1" i="0" u="none" strike="noStrike" kern="0" cap="none" spc="0" normalizeH="0" baseline="0" noProof="0" dirty="0">
                  <a:ln>
                    <a:noFill/>
                  </a:ln>
                  <a:solidFill>
                    <a:srgbClr val="FFFFFF"/>
                  </a:solidFill>
                  <a:effectLst/>
                  <a:uLnTx/>
                  <a:uFillTx/>
                  <a:latin typeface="Arial"/>
                  <a:cs typeface="Arial"/>
                  <a:sym typeface="Arial"/>
                </a:rPr>
                <a:t>UWIERZYTELNIENIE</a:t>
              </a:r>
              <a:endParaRPr kumimoji="0" sz="1167" b="1" i="0" u="none" strike="noStrike" kern="0" cap="none" spc="0" normalizeH="0" baseline="0" noProof="0" dirty="0">
                <a:ln>
                  <a:noFill/>
                </a:ln>
                <a:solidFill>
                  <a:srgbClr val="FFFFFF"/>
                </a:solidFill>
                <a:effectLst/>
                <a:uLnTx/>
                <a:uFillTx/>
                <a:latin typeface="Arial"/>
                <a:cs typeface="Arial"/>
                <a:sym typeface="Arial"/>
              </a:endParaRPr>
            </a:p>
            <a:p>
              <a:pPr marL="0" marR="0" lvl="0" indent="0" algn="ctr" defTabSz="451169" rtl="0" eaLnBrk="1" fontAlgn="auto" latinLnBrk="0" hangingPunct="0">
                <a:lnSpc>
                  <a:spcPct val="70000"/>
                </a:lnSpc>
                <a:spcBef>
                  <a:spcPts val="600"/>
                </a:spcBef>
                <a:spcAft>
                  <a:spcPts val="0"/>
                </a:spcAft>
                <a:buClrTx/>
                <a:buSzTx/>
                <a:buFontTx/>
                <a:buNone/>
                <a:tabLst/>
                <a:defRPr sz="2500">
                  <a:latin typeface="Arial"/>
                  <a:ea typeface="Arial"/>
                  <a:cs typeface="Arial"/>
                  <a:sym typeface="Arial"/>
                </a:defRPr>
              </a:pPr>
              <a:r>
                <a:rPr kumimoji="0" sz="1000" b="1" i="0" u="none" strike="noStrike" kern="0" cap="none" spc="0" normalizeH="0" baseline="0" noProof="0" dirty="0">
                  <a:ln>
                    <a:noFill/>
                  </a:ln>
                  <a:solidFill>
                    <a:srgbClr val="FFFFFF"/>
                  </a:solidFill>
                  <a:effectLst/>
                  <a:uLnTx/>
                  <a:uFillTx/>
                  <a:latin typeface="Arial"/>
                  <a:cs typeface="Arial"/>
                  <a:sym typeface="Arial"/>
                </a:rPr>
                <a:t>One Role, One Network</a:t>
              </a:r>
            </a:p>
            <a:p>
              <a:pPr marL="0" marR="0" lvl="0" indent="0" algn="ctr" defTabSz="451169" rtl="0" eaLnBrk="1" fontAlgn="auto" latinLnBrk="0" hangingPunct="0">
                <a:lnSpc>
                  <a:spcPct val="70000"/>
                </a:lnSpc>
                <a:spcBef>
                  <a:spcPts val="600"/>
                </a:spcBef>
                <a:spcAft>
                  <a:spcPts val="0"/>
                </a:spcAft>
                <a:buClrTx/>
                <a:buSzTx/>
                <a:buFontTx/>
                <a:buNone/>
                <a:tabLst/>
                <a:defRPr sz="2500" b="0">
                  <a:latin typeface="Arial"/>
                  <a:ea typeface="Arial"/>
                  <a:cs typeface="Arial"/>
                  <a:sym typeface="Arial"/>
                </a:defRPr>
              </a:pPr>
              <a:r>
                <a:rPr kumimoji="0" sz="1000" b="0" i="0" u="none" strike="noStrike" kern="0" cap="none" spc="0" normalizeH="0" baseline="0" noProof="0" dirty="0">
                  <a:ln>
                    <a:noFill/>
                  </a:ln>
                  <a:solidFill>
                    <a:srgbClr val="FFFFFF"/>
                  </a:solidFill>
                  <a:effectLst/>
                  <a:uLnTx/>
                  <a:uFillTx/>
                  <a:latin typeface="Arial"/>
                  <a:cs typeface="Arial"/>
                  <a:sym typeface="Arial"/>
                </a:rPr>
                <a:t>AAA and Non-</a:t>
              </a:r>
              <a:r>
                <a:rPr kumimoji="0" lang="en-US" sz="1000" b="0" i="0" u="none" strike="noStrike" kern="0" cap="none" spc="0" normalizeH="0" baseline="0" noProof="0" dirty="0">
                  <a:ln>
                    <a:noFill/>
                  </a:ln>
                  <a:solidFill>
                    <a:srgbClr val="FFFFFF"/>
                  </a:solidFill>
                  <a:effectLst/>
                  <a:uLnTx/>
                  <a:uFillTx/>
                  <a:latin typeface="Arial"/>
                  <a:cs typeface="Arial"/>
                  <a:sym typeface="Arial"/>
                </a:rPr>
                <a:t> </a:t>
              </a:r>
              <a:r>
                <a:rPr kumimoji="0" sz="1000" b="0" i="0" u="none" strike="noStrike" kern="0" cap="none" spc="0" normalizeH="0" baseline="0" noProof="0" dirty="0">
                  <a:ln>
                    <a:noFill/>
                  </a:ln>
                  <a:solidFill>
                    <a:srgbClr val="FFFFFF"/>
                  </a:solidFill>
                  <a:effectLst/>
                  <a:uLnTx/>
                  <a:uFillTx/>
                  <a:latin typeface="Arial"/>
                  <a:cs typeface="Arial"/>
                  <a:sym typeface="Arial"/>
                </a:rPr>
                <a:t>AAA Options</a:t>
              </a:r>
            </a:p>
          </p:txBody>
        </p:sp>
        <p:sp>
          <p:nvSpPr>
            <p:cNvPr id="8" name="AUTHORIZATION…">
              <a:extLst>
                <a:ext uri="{FF2B5EF4-FFF2-40B4-BE49-F238E27FC236}">
                  <a16:creationId xmlns:a16="http://schemas.microsoft.com/office/drawing/2014/main" id="{5B2EC6A7-AE17-B68B-B594-9C41ADBC9A6C}"/>
                </a:ext>
              </a:extLst>
            </p:cNvPr>
            <p:cNvSpPr txBox="1"/>
            <p:nvPr/>
          </p:nvSpPr>
          <p:spPr>
            <a:xfrm>
              <a:off x="8509849" y="4764850"/>
              <a:ext cx="2102927" cy="668651"/>
            </a:xfrm>
            <a:prstGeom prst="rect">
              <a:avLst/>
            </a:prstGeom>
            <a:ln w="3175">
              <a:noFill/>
              <a:miter lim="400000"/>
            </a:ln>
            <a:extLst>
              <a:ext uri="{C572A759-6A51-4108-AA02-DFA0A04FC94B}">
                <ma14:wrappingTextBoxFlag xmlns="" xmlns:ma14="http://schemas.microsoft.com/office/mac/drawingml/2011/main" val="1"/>
              </a:ext>
            </a:extLst>
          </p:spPr>
          <p:txBody>
            <a:bodyPr lIns="22577" tIns="22577" rIns="22577" bIns="22577" anchor="ctr">
              <a:spAutoFit/>
            </a:bodyPr>
            <a:lstStyle/>
            <a:p>
              <a:pPr marL="0" marR="0" lvl="0" indent="0" algn="ctr" defTabSz="451169" rtl="0" eaLnBrk="1" fontAlgn="auto" latinLnBrk="0" hangingPunct="0">
                <a:lnSpc>
                  <a:spcPct val="70000"/>
                </a:lnSpc>
                <a:spcBef>
                  <a:spcPts val="600"/>
                </a:spcBef>
                <a:spcAft>
                  <a:spcPts val="0"/>
                </a:spcAft>
                <a:buClrTx/>
                <a:buSzTx/>
                <a:buFontTx/>
                <a:buNone/>
                <a:tabLst/>
                <a:defRPr sz="3000">
                  <a:latin typeface="Arial"/>
                  <a:ea typeface="Arial"/>
                  <a:cs typeface="Arial"/>
                  <a:sym typeface="Arial"/>
                </a:defRPr>
              </a:pPr>
              <a:r>
                <a:rPr kumimoji="0" lang="pl-PL" sz="1167" b="1" i="0" u="none" strike="noStrike" kern="0" cap="none" spc="0" normalizeH="0" baseline="0" noProof="0" dirty="0">
                  <a:ln>
                    <a:noFill/>
                  </a:ln>
                  <a:solidFill>
                    <a:srgbClr val="FFFFFF"/>
                  </a:solidFill>
                  <a:effectLst/>
                  <a:uLnTx/>
                  <a:uFillTx/>
                  <a:latin typeface="Arial"/>
                  <a:cs typeface="Arial"/>
                  <a:sym typeface="Arial"/>
                </a:rPr>
                <a:t>KONTROLA DOSTĘPU W OPARCIU O ROLE</a:t>
              </a:r>
              <a:endParaRPr kumimoji="0" sz="1167" b="1" i="0" u="none" strike="noStrike" kern="0" cap="none" spc="0" normalizeH="0" baseline="0" noProof="0" dirty="0">
                <a:ln>
                  <a:noFill/>
                </a:ln>
                <a:solidFill>
                  <a:srgbClr val="FFFFFF"/>
                </a:solidFill>
                <a:effectLst/>
                <a:uLnTx/>
                <a:uFillTx/>
                <a:latin typeface="Arial"/>
                <a:cs typeface="Arial"/>
                <a:sym typeface="Arial"/>
              </a:endParaRPr>
            </a:p>
            <a:p>
              <a:pPr marL="0" marR="0" lvl="0" indent="0" algn="ctr" defTabSz="451169" rtl="0" eaLnBrk="1" fontAlgn="auto" latinLnBrk="0" hangingPunct="0">
                <a:lnSpc>
                  <a:spcPct val="70000"/>
                </a:lnSpc>
                <a:spcBef>
                  <a:spcPts val="600"/>
                </a:spcBef>
                <a:spcAft>
                  <a:spcPts val="0"/>
                </a:spcAft>
                <a:buClrTx/>
                <a:buSzTx/>
                <a:buFontTx/>
                <a:buNone/>
                <a:tabLst/>
                <a:defRPr sz="2500">
                  <a:latin typeface="Arial"/>
                  <a:ea typeface="Arial"/>
                  <a:cs typeface="Arial"/>
                  <a:sym typeface="Arial"/>
                </a:defRPr>
              </a:pPr>
              <a:r>
                <a:rPr kumimoji="0" sz="1000" b="1" i="0" u="none" strike="noStrike" kern="0" cap="none" spc="0" normalizeH="0" baseline="0" noProof="0" dirty="0">
                  <a:ln>
                    <a:noFill/>
                  </a:ln>
                  <a:solidFill>
                    <a:srgbClr val="FFFFFF"/>
                  </a:solidFill>
                  <a:effectLst/>
                  <a:uLnTx/>
                  <a:uFillTx/>
                  <a:latin typeface="Arial"/>
                  <a:cs typeface="Arial"/>
                  <a:sym typeface="Arial"/>
                </a:rPr>
                <a:t>Precision Access Privileges</a:t>
              </a:r>
            </a:p>
            <a:p>
              <a:pPr marL="0" marR="0" lvl="0" indent="0" algn="ctr" defTabSz="451169" rtl="0" eaLnBrk="1" fontAlgn="auto" latinLnBrk="0" hangingPunct="0">
                <a:lnSpc>
                  <a:spcPct val="70000"/>
                </a:lnSpc>
                <a:spcBef>
                  <a:spcPts val="600"/>
                </a:spcBef>
                <a:spcAft>
                  <a:spcPts val="0"/>
                </a:spcAft>
                <a:buClrTx/>
                <a:buSzTx/>
                <a:buFontTx/>
                <a:buNone/>
                <a:tabLst/>
                <a:defRPr sz="2500" b="0">
                  <a:latin typeface="Arial"/>
                  <a:ea typeface="Arial"/>
                  <a:cs typeface="Arial"/>
                  <a:sym typeface="Arial"/>
                </a:defRPr>
              </a:pPr>
              <a:r>
                <a:rPr kumimoji="0" sz="1000" b="0" i="0" u="none" strike="noStrike" kern="0" cap="none" spc="0" normalizeH="0" baseline="0" noProof="0" dirty="0">
                  <a:ln>
                    <a:noFill/>
                  </a:ln>
                  <a:solidFill>
                    <a:srgbClr val="FFFFFF"/>
                  </a:solidFill>
                  <a:effectLst/>
                  <a:uLnTx/>
                  <a:uFillTx/>
                  <a:latin typeface="Arial"/>
                  <a:cs typeface="Arial"/>
                  <a:sym typeface="Arial"/>
                </a:rPr>
                <a:t>Identity and context-based rules</a:t>
              </a:r>
            </a:p>
          </p:txBody>
        </p:sp>
        <p:sp>
          <p:nvSpPr>
            <p:cNvPr id="9" name="ENFORCEMENT…">
              <a:extLst>
                <a:ext uri="{FF2B5EF4-FFF2-40B4-BE49-F238E27FC236}">
                  <a16:creationId xmlns:a16="http://schemas.microsoft.com/office/drawing/2014/main" id="{C6FBB55A-7B7C-AA61-663A-C08483A7CF6C}"/>
                </a:ext>
              </a:extLst>
            </p:cNvPr>
            <p:cNvSpPr txBox="1"/>
            <p:nvPr/>
          </p:nvSpPr>
          <p:spPr>
            <a:xfrm>
              <a:off x="6463573" y="2874786"/>
              <a:ext cx="1702128" cy="566058"/>
            </a:xfrm>
            <a:prstGeom prst="rect">
              <a:avLst/>
            </a:prstGeom>
            <a:ln w="3175">
              <a:noFill/>
              <a:miter lim="400000"/>
            </a:ln>
            <a:extLst>
              <a:ext uri="{C572A759-6A51-4108-AA02-DFA0A04FC94B}">
                <ma14:wrappingTextBoxFlag xmlns="" xmlns:ma14="http://schemas.microsoft.com/office/mac/drawingml/2011/main" val="1"/>
              </a:ext>
            </a:extLst>
          </p:spPr>
          <p:txBody>
            <a:bodyPr wrap="square" lIns="22577" tIns="22577" rIns="22577" bIns="22577" anchor="ctr">
              <a:spAutoFit/>
            </a:bodyPr>
            <a:lstStyle/>
            <a:p>
              <a:pPr marL="0" marR="0" lvl="0" indent="0" algn="ctr" defTabSz="451169" rtl="0" eaLnBrk="1" fontAlgn="auto" latinLnBrk="0" hangingPunct="0">
                <a:lnSpc>
                  <a:spcPct val="70000"/>
                </a:lnSpc>
                <a:spcBef>
                  <a:spcPts val="249"/>
                </a:spcBef>
                <a:spcAft>
                  <a:spcPts val="0"/>
                </a:spcAft>
                <a:buClrTx/>
                <a:buSzTx/>
                <a:buFontTx/>
                <a:buNone/>
                <a:tabLst/>
                <a:defRPr sz="3000">
                  <a:latin typeface="Arial"/>
                  <a:ea typeface="Arial"/>
                  <a:cs typeface="Arial"/>
                  <a:sym typeface="Arial"/>
                </a:defRPr>
              </a:pPr>
              <a:r>
                <a:rPr kumimoji="0" lang="pl-PL" sz="1167" b="1" i="0" u="none" strike="noStrike" kern="0" cap="none" spc="0" normalizeH="0" baseline="0" noProof="0" dirty="0">
                  <a:ln>
                    <a:noFill/>
                  </a:ln>
                  <a:solidFill>
                    <a:srgbClr val="FFFFFF"/>
                  </a:solidFill>
                  <a:effectLst/>
                  <a:uLnTx/>
                  <a:uFillTx/>
                  <a:latin typeface="Arial"/>
                  <a:cs typeface="Arial"/>
                  <a:sym typeface="Arial"/>
                </a:rPr>
                <a:t>EKGEZKUCJA I REAKCJA</a:t>
              </a:r>
              <a:endParaRPr kumimoji="0" sz="1167" b="1" i="0" u="none" strike="noStrike" kern="0" cap="none" spc="0" normalizeH="0" baseline="0" noProof="0" dirty="0">
                <a:ln>
                  <a:noFill/>
                </a:ln>
                <a:solidFill>
                  <a:srgbClr val="FFFFFF"/>
                </a:solidFill>
                <a:effectLst/>
                <a:uLnTx/>
                <a:uFillTx/>
                <a:latin typeface="Arial"/>
                <a:cs typeface="Arial"/>
                <a:sym typeface="Arial"/>
              </a:endParaRPr>
            </a:p>
            <a:p>
              <a:pPr marL="0" marR="0" lvl="0" indent="0" algn="ctr" defTabSz="451169" rtl="0" eaLnBrk="1" fontAlgn="auto" latinLnBrk="0" hangingPunct="0">
                <a:lnSpc>
                  <a:spcPct val="70000"/>
                </a:lnSpc>
                <a:spcBef>
                  <a:spcPts val="249"/>
                </a:spcBef>
                <a:spcAft>
                  <a:spcPts val="0"/>
                </a:spcAft>
                <a:buClrTx/>
                <a:buSzTx/>
                <a:buFontTx/>
                <a:buNone/>
                <a:tabLst/>
                <a:defRPr sz="2500">
                  <a:latin typeface="Arial"/>
                  <a:ea typeface="Arial"/>
                  <a:cs typeface="Arial"/>
                  <a:sym typeface="Arial"/>
                </a:defRPr>
              </a:pPr>
              <a:r>
                <a:rPr kumimoji="0" sz="1000" b="1" i="0" u="none" strike="noStrike" kern="0" cap="none" spc="0" normalizeH="0" baseline="0" noProof="0" dirty="0">
                  <a:ln>
                    <a:noFill/>
                  </a:ln>
                  <a:solidFill>
                    <a:srgbClr val="FFFFFF"/>
                  </a:solidFill>
                  <a:effectLst/>
                  <a:uLnTx/>
                  <a:uFillTx/>
                  <a:latin typeface="Arial"/>
                  <a:cs typeface="Arial"/>
                  <a:sym typeface="Arial"/>
                </a:rPr>
                <a:t>Attack Response</a:t>
              </a:r>
            </a:p>
            <a:p>
              <a:pPr marL="0" marR="0" lvl="0" indent="0" algn="ctr" defTabSz="451169" rtl="0" eaLnBrk="1" fontAlgn="auto" latinLnBrk="0" hangingPunct="0">
                <a:lnSpc>
                  <a:spcPct val="70000"/>
                </a:lnSpc>
                <a:spcBef>
                  <a:spcPts val="249"/>
                </a:spcBef>
                <a:spcAft>
                  <a:spcPts val="0"/>
                </a:spcAft>
                <a:buClrTx/>
                <a:buSzTx/>
                <a:buFontTx/>
                <a:buNone/>
                <a:tabLst/>
                <a:defRPr sz="2500" b="0">
                  <a:latin typeface="Arial"/>
                  <a:ea typeface="Arial"/>
                  <a:cs typeface="Arial"/>
                  <a:sym typeface="Arial"/>
                </a:defRPr>
              </a:pPr>
              <a:r>
                <a:rPr kumimoji="0" sz="1000" b="0" i="0" u="none" strike="noStrike" kern="0" cap="none" spc="0" normalizeH="0" baseline="0" noProof="0" dirty="0">
                  <a:ln>
                    <a:noFill/>
                  </a:ln>
                  <a:solidFill>
                    <a:srgbClr val="FFFFFF"/>
                  </a:solidFill>
                  <a:effectLst/>
                  <a:uLnTx/>
                  <a:uFillTx/>
                  <a:latin typeface="Arial"/>
                  <a:cs typeface="Arial"/>
                  <a:sym typeface="Arial"/>
                </a:rPr>
                <a:t>Event-triggered actions</a:t>
              </a:r>
            </a:p>
          </p:txBody>
        </p:sp>
        <p:sp>
          <p:nvSpPr>
            <p:cNvPr id="10" name="VISIBILITY…">
              <a:extLst>
                <a:ext uri="{FF2B5EF4-FFF2-40B4-BE49-F238E27FC236}">
                  <a16:creationId xmlns:a16="http://schemas.microsoft.com/office/drawing/2014/main" id="{4A9EE054-9DEA-1FAC-B063-09768DA77AB4}"/>
                </a:ext>
              </a:extLst>
            </p:cNvPr>
            <p:cNvSpPr txBox="1"/>
            <p:nvPr/>
          </p:nvSpPr>
          <p:spPr>
            <a:xfrm>
              <a:off x="6801222" y="4503168"/>
              <a:ext cx="1736534" cy="522392"/>
            </a:xfrm>
            <a:prstGeom prst="rect">
              <a:avLst/>
            </a:prstGeom>
            <a:ln w="3175">
              <a:noFill/>
              <a:miter lim="400000"/>
            </a:ln>
            <a:extLst>
              <a:ext uri="{C572A759-6A51-4108-AA02-DFA0A04FC94B}">
                <ma14:wrappingTextBoxFlag xmlns="" xmlns:ma14="http://schemas.microsoft.com/office/mac/drawingml/2011/main" val="1"/>
              </a:ext>
            </a:extLst>
          </p:spPr>
          <p:txBody>
            <a:bodyPr wrap="square" lIns="22577" tIns="22577" rIns="22577" bIns="22577" anchor="ctr">
              <a:spAutoFit/>
            </a:bodyPr>
            <a:lstStyle/>
            <a:p>
              <a:pPr marL="0" marR="0" lvl="0" indent="0" algn="ctr" defTabSz="451169" rtl="0" eaLnBrk="1" fontAlgn="auto" latinLnBrk="0" hangingPunct="0">
                <a:lnSpc>
                  <a:spcPct val="70000"/>
                </a:lnSpc>
                <a:spcBef>
                  <a:spcPts val="249"/>
                </a:spcBef>
                <a:spcAft>
                  <a:spcPts val="0"/>
                </a:spcAft>
                <a:buClrTx/>
                <a:buSzTx/>
                <a:buFontTx/>
                <a:buNone/>
                <a:tabLst/>
                <a:defRPr sz="3000">
                  <a:latin typeface="Arial"/>
                  <a:ea typeface="Arial"/>
                  <a:cs typeface="Arial"/>
                  <a:sym typeface="Arial"/>
                </a:defRPr>
              </a:pPr>
              <a:r>
                <a:rPr kumimoji="0" lang="pl-PL" sz="1167" b="1" i="0" u="none" strike="noStrike" kern="0" cap="none" spc="0" normalizeH="0" baseline="0" noProof="0" dirty="0">
                  <a:ln>
                    <a:noFill/>
                  </a:ln>
                  <a:solidFill>
                    <a:srgbClr val="FFFFFF"/>
                  </a:solidFill>
                  <a:effectLst/>
                  <a:uLnTx/>
                  <a:uFillTx/>
                  <a:latin typeface="Arial"/>
                  <a:cs typeface="Arial"/>
                  <a:sym typeface="Arial"/>
                </a:rPr>
                <a:t>CIĄGŁY MONITORING</a:t>
              </a:r>
              <a:endParaRPr kumimoji="0" sz="1167" b="1" i="0" u="none" strike="noStrike" kern="0" cap="none" spc="0" normalizeH="0" baseline="0" noProof="0" dirty="0">
                <a:ln>
                  <a:noFill/>
                </a:ln>
                <a:solidFill>
                  <a:srgbClr val="FFFFFF"/>
                </a:solidFill>
                <a:effectLst/>
                <a:uLnTx/>
                <a:uFillTx/>
                <a:latin typeface="Arial"/>
                <a:cs typeface="Arial"/>
                <a:sym typeface="Arial"/>
              </a:endParaRPr>
            </a:p>
            <a:p>
              <a:pPr marL="0" marR="0" lvl="0" indent="0" algn="ctr" defTabSz="451169" rtl="0" eaLnBrk="1" fontAlgn="auto" latinLnBrk="0" hangingPunct="0">
                <a:lnSpc>
                  <a:spcPct val="70000"/>
                </a:lnSpc>
                <a:spcBef>
                  <a:spcPts val="249"/>
                </a:spcBef>
                <a:spcAft>
                  <a:spcPts val="0"/>
                </a:spcAft>
                <a:buClrTx/>
                <a:buSzTx/>
                <a:buFontTx/>
                <a:buNone/>
                <a:tabLst/>
                <a:defRPr sz="2500" b="0">
                  <a:latin typeface="Arial"/>
                  <a:ea typeface="Arial"/>
                  <a:cs typeface="Arial"/>
                  <a:sym typeface="Arial"/>
                </a:defRPr>
              </a:pPr>
              <a:r>
                <a:rPr kumimoji="0" lang="en-US" sz="1000" b="0" i="0" u="none" strike="noStrike" kern="0" cap="none" spc="0" normalizeH="0" baseline="0" noProof="0" dirty="0">
                  <a:ln>
                    <a:noFill/>
                  </a:ln>
                  <a:solidFill>
                    <a:srgbClr val="FFFFFF"/>
                  </a:solidFill>
                  <a:effectLst/>
                  <a:uLnTx/>
                  <a:uFillTx/>
                  <a:latin typeface="Arial"/>
                  <a:cs typeface="Arial"/>
                  <a:sym typeface="Arial"/>
                </a:rPr>
                <a:t>Real-time Threat Telemetry from Aruba solutions and 150+ integrations</a:t>
              </a:r>
              <a:endParaRPr kumimoji="0" sz="1000" b="0" i="0" u="none" strike="noStrike" kern="0" cap="none" spc="0" normalizeH="0" baseline="0" noProof="0" dirty="0">
                <a:ln>
                  <a:noFill/>
                </a:ln>
                <a:solidFill>
                  <a:srgbClr val="FFFFFF"/>
                </a:solidFill>
                <a:effectLst/>
                <a:uLnTx/>
                <a:uFillTx/>
                <a:latin typeface="Arial"/>
                <a:cs typeface="Arial"/>
                <a:sym typeface="Arial"/>
              </a:endParaRPr>
            </a:p>
          </p:txBody>
        </p:sp>
        <p:pic>
          <p:nvPicPr>
            <p:cNvPr id="11" name="Picture 14" descr="Picture 14">
              <a:extLst>
                <a:ext uri="{FF2B5EF4-FFF2-40B4-BE49-F238E27FC236}">
                  <a16:creationId xmlns:a16="http://schemas.microsoft.com/office/drawing/2014/main" id="{0759748F-4538-4CE0-D6A1-F199E4CCD65B}"/>
                </a:ext>
              </a:extLst>
            </p:cNvPr>
            <p:cNvPicPr>
              <a:picLocks noChangeAspect="1"/>
            </p:cNvPicPr>
            <p:nvPr/>
          </p:nvPicPr>
          <p:blipFill>
            <a:blip r:embed="rId11"/>
            <a:stretch>
              <a:fillRect/>
            </a:stretch>
          </p:blipFill>
          <p:spPr>
            <a:xfrm>
              <a:off x="7373911" y="3921283"/>
              <a:ext cx="525163" cy="525163"/>
            </a:xfrm>
            <a:prstGeom prst="rect">
              <a:avLst/>
            </a:prstGeom>
            <a:ln w="3175">
              <a:noFill/>
              <a:miter lim="400000"/>
            </a:ln>
          </p:spPr>
        </p:pic>
        <p:pic>
          <p:nvPicPr>
            <p:cNvPr id="12" name="Picture 26" descr="Picture 26">
              <a:extLst>
                <a:ext uri="{FF2B5EF4-FFF2-40B4-BE49-F238E27FC236}">
                  <a16:creationId xmlns:a16="http://schemas.microsoft.com/office/drawing/2014/main" id="{93054EC5-DC5A-4234-F532-37E2DF4798E2}"/>
                </a:ext>
              </a:extLst>
            </p:cNvPr>
            <p:cNvPicPr>
              <a:picLocks noChangeAspect="1"/>
            </p:cNvPicPr>
            <p:nvPr/>
          </p:nvPicPr>
          <p:blipFill>
            <a:blip r:embed="rId12"/>
            <a:stretch>
              <a:fillRect/>
            </a:stretch>
          </p:blipFill>
          <p:spPr>
            <a:xfrm>
              <a:off x="7111069" y="2138856"/>
              <a:ext cx="485317" cy="567551"/>
            </a:xfrm>
            <a:prstGeom prst="rect">
              <a:avLst/>
            </a:prstGeom>
            <a:ln w="3175">
              <a:noFill/>
              <a:miter lim="400000"/>
            </a:ln>
          </p:spPr>
        </p:pic>
        <p:pic>
          <p:nvPicPr>
            <p:cNvPr id="13" name="noun_100530_cc_binoc.png" descr="noun_100530_cc_binoc.png">
              <a:extLst>
                <a:ext uri="{FF2B5EF4-FFF2-40B4-BE49-F238E27FC236}">
                  <a16:creationId xmlns:a16="http://schemas.microsoft.com/office/drawing/2014/main" id="{9484D7E6-BAF0-837A-B8BD-DC3024A87A18}"/>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684763" y="1330713"/>
              <a:ext cx="569297" cy="364350"/>
            </a:xfrm>
            <a:prstGeom prst="rect">
              <a:avLst/>
            </a:prstGeom>
            <a:ln w="3175">
              <a:noFill/>
              <a:miter lim="400000"/>
            </a:ln>
          </p:spPr>
        </p:pic>
        <p:pic>
          <p:nvPicPr>
            <p:cNvPr id="14" name="access.png" descr="access.png">
              <a:extLst>
                <a:ext uri="{FF2B5EF4-FFF2-40B4-BE49-F238E27FC236}">
                  <a16:creationId xmlns:a16="http://schemas.microsoft.com/office/drawing/2014/main" id="{CAB18342-BBCC-5091-E819-A4A6BAA5FAD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248431" y="2422631"/>
              <a:ext cx="569296" cy="519835"/>
            </a:xfrm>
            <a:prstGeom prst="rect">
              <a:avLst/>
            </a:prstGeom>
            <a:ln w="3175">
              <a:noFill/>
              <a:miter lim="400000"/>
            </a:ln>
          </p:spPr>
        </p:pic>
        <p:pic>
          <p:nvPicPr>
            <p:cNvPr id="15" name="Image" descr="Image">
              <a:extLst>
                <a:ext uri="{FF2B5EF4-FFF2-40B4-BE49-F238E27FC236}">
                  <a16:creationId xmlns:a16="http://schemas.microsoft.com/office/drawing/2014/main" id="{019F6B7B-9E4F-2DC2-2113-9933556F033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387135" y="4124016"/>
              <a:ext cx="400671" cy="525161"/>
            </a:xfrm>
            <a:prstGeom prst="rect">
              <a:avLst/>
            </a:prstGeom>
            <a:ln w="3175">
              <a:noFill/>
              <a:miter lim="400000"/>
            </a:ln>
          </p:spPr>
        </p:pic>
      </p:grpSp>
      <p:cxnSp>
        <p:nvCxnSpPr>
          <p:cNvPr id="16" name="Straight Connector 15">
            <a:extLst>
              <a:ext uri="{FF2B5EF4-FFF2-40B4-BE49-F238E27FC236}">
                <a16:creationId xmlns:a16="http://schemas.microsoft.com/office/drawing/2014/main" id="{7FA36CC9-1623-AAE3-0461-C4CB8DB62460}"/>
              </a:ext>
            </a:extLst>
          </p:cNvPr>
          <p:cNvCxnSpPr>
            <a:cxnSpLocks/>
          </p:cNvCxnSpPr>
          <p:nvPr/>
        </p:nvCxnSpPr>
        <p:spPr>
          <a:xfrm>
            <a:off x="7516664" y="2515979"/>
            <a:ext cx="228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2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3605FCD-BEEE-4553-9FF6-ECB0F8F8E1E1}"/>
              </a:ext>
            </a:extLst>
          </p:cNvPr>
          <p:cNvSpPr/>
          <p:nvPr/>
        </p:nvSpPr>
        <p:spPr bwMode="ltGray">
          <a:xfrm>
            <a:off x="477924" y="1066800"/>
            <a:ext cx="5389476" cy="2644141"/>
          </a:xfrm>
          <a:prstGeom prst="rect">
            <a:avLst/>
          </a:pr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9" name="Rectangle 58"/>
          <p:cNvSpPr/>
          <p:nvPr/>
        </p:nvSpPr>
        <p:spPr bwMode="ltGray">
          <a:xfrm>
            <a:off x="8589226" y="6248503"/>
            <a:ext cx="2430261" cy="50046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7" name="Rounded Rectangle 56"/>
          <p:cNvSpPr/>
          <p:nvPr/>
        </p:nvSpPr>
        <p:spPr>
          <a:xfrm>
            <a:off x="6121811" y="1121907"/>
            <a:ext cx="3859891" cy="572207"/>
          </a:xfrm>
          <a:prstGeom prst="roundRect">
            <a:avLst>
              <a:gd name="adj" fmla="val 0"/>
            </a:avLst>
          </a:prstGeom>
          <a:solidFill>
            <a:schemeClr val="accent1"/>
          </a:solidFill>
          <a:ln w="19050" cmpd="sng">
            <a:noFill/>
            <a:round/>
            <a:headEnd/>
            <a:tailEnd/>
          </a:ln>
        </p:spPr>
        <p:txBody>
          <a:bodyPr vert="horz" wrap="square" lIns="121920" tIns="60960" rIns="121920" bIns="60960" numCol="1" anchor="ctr" anchorCtr="1" compatLnSpc="1">
            <a:prstTxWarp prst="textNoShape">
              <a:avLst/>
            </a:prstTxWarp>
          </a:bodyPr>
          <a:lstStyle/>
          <a:p>
            <a:pPr algn="ctr"/>
            <a:r>
              <a:rPr lang="en-US" sz="1800" b="1" dirty="0">
                <a:solidFill>
                  <a:schemeClr val="bg1"/>
                </a:solidFill>
                <a:effectLst>
                  <a:outerShdw blurRad="38100" dist="38100" dir="2700000" algn="tl">
                    <a:srgbClr val="000000">
                      <a:alpha val="43137"/>
                    </a:srgbClr>
                  </a:outerShdw>
                </a:effectLst>
              </a:rPr>
              <a:t>Za</a:t>
            </a:r>
            <a:r>
              <a:rPr lang="pl-PL" sz="1800" b="1" dirty="0">
                <a:solidFill>
                  <a:schemeClr val="bg1"/>
                </a:solidFill>
                <a:effectLst>
                  <a:outerShdw blurRad="38100" dist="38100" dir="2700000" algn="tl">
                    <a:srgbClr val="000000">
                      <a:alpha val="43137"/>
                    </a:srgbClr>
                  </a:outerShdw>
                </a:effectLst>
              </a:rPr>
              <a:t>r</a:t>
            </a:r>
            <a:r>
              <a:rPr lang="en-US" sz="1800" b="1" dirty="0" err="1">
                <a:solidFill>
                  <a:schemeClr val="bg1"/>
                </a:solidFill>
                <a:effectLst>
                  <a:outerShdw blurRad="38100" dist="38100" dir="2700000" algn="tl">
                    <a:srgbClr val="000000">
                      <a:alpha val="43137"/>
                    </a:srgbClr>
                  </a:outerShdw>
                </a:effectLst>
              </a:rPr>
              <a:t>ządzanie</a:t>
            </a:r>
            <a:r>
              <a:rPr lang="en-US" sz="1800" b="1" dirty="0">
                <a:solidFill>
                  <a:schemeClr val="bg1"/>
                </a:solidFill>
                <a:effectLst>
                  <a:outerShdw blurRad="38100" dist="38100" dir="2700000" algn="tl">
                    <a:srgbClr val="000000">
                      <a:alpha val="43137"/>
                    </a:srgbClr>
                  </a:outerShdw>
                </a:effectLst>
              </a:rPr>
              <a:t> </a:t>
            </a:r>
            <a:r>
              <a:rPr lang="en-US" sz="1800" b="1" dirty="0" err="1">
                <a:solidFill>
                  <a:schemeClr val="bg1"/>
                </a:solidFill>
                <a:effectLst>
                  <a:outerShdw blurRad="38100" dist="38100" dir="2700000" algn="tl">
                    <a:srgbClr val="000000">
                      <a:alpha val="43137"/>
                    </a:srgbClr>
                  </a:outerShdw>
                </a:effectLst>
              </a:rPr>
              <a:t>urządzeniami</a:t>
            </a:r>
            <a:r>
              <a:rPr lang="en-US" sz="1800" b="1" dirty="0">
                <a:solidFill>
                  <a:schemeClr val="bg1"/>
                </a:solidFill>
                <a:effectLst>
                  <a:outerShdw blurRad="38100" dist="38100" dir="2700000" algn="tl">
                    <a:srgbClr val="000000">
                      <a:alpha val="43137"/>
                    </a:srgbClr>
                  </a:outerShdw>
                </a:effectLst>
              </a:rPr>
              <a:t> </a:t>
            </a:r>
            <a:r>
              <a:rPr lang="en-US" sz="1800" b="1" dirty="0" err="1">
                <a:solidFill>
                  <a:schemeClr val="bg1"/>
                </a:solidFill>
                <a:effectLst>
                  <a:outerShdw blurRad="38100" dist="38100" dir="2700000" algn="tl">
                    <a:srgbClr val="000000">
                      <a:alpha val="43137"/>
                    </a:srgbClr>
                  </a:outerShdw>
                </a:effectLst>
              </a:rPr>
              <a:t>mobilnymi</a:t>
            </a:r>
            <a:endParaRPr lang="en-US" sz="1800" b="1" dirty="0">
              <a:solidFill>
                <a:schemeClr val="bg1"/>
              </a:solidFill>
              <a:effectLst>
                <a:outerShdw blurRad="38100" dist="38100" dir="2700000" algn="tl">
                  <a:srgbClr val="000000">
                    <a:alpha val="43137"/>
                  </a:srgbClr>
                </a:outerShdw>
              </a:effectLst>
            </a:endParaRPr>
          </a:p>
        </p:txBody>
      </p:sp>
      <p:sp>
        <p:nvSpPr>
          <p:cNvPr id="58" name="TextBox 57"/>
          <p:cNvSpPr txBox="1"/>
          <p:nvPr/>
        </p:nvSpPr>
        <p:spPr>
          <a:xfrm>
            <a:off x="6295245" y="2867659"/>
            <a:ext cx="2488789" cy="830997"/>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Urządzenie</a:t>
            </a:r>
            <a:r>
              <a:rPr kumimoji="0" lang="en-US" sz="1600" i="0" u="none" strike="noStrike" kern="1200" cap="none" spc="0" normalizeH="0" baseline="0" noProof="0" dirty="0">
                <a:ln>
                  <a:noFill/>
                </a:ln>
                <a:solidFill>
                  <a:srgbClr val="000000"/>
                </a:solidFill>
                <a:effectLst/>
                <a:uLnTx/>
                <a:uFillTx/>
                <a:latin typeface="Arial"/>
                <a:ea typeface="+mn-ea"/>
                <a:cs typeface="+mn-cs"/>
              </a:rPr>
              <a:t> </a:t>
            </a:r>
            <a:r>
              <a:rPr kumimoji="0" lang="en-US" sz="1600" i="0" u="none" strike="noStrike" kern="1200" cap="none" spc="0" normalizeH="0" baseline="0" noProof="0" dirty="0" err="1">
                <a:ln>
                  <a:noFill/>
                </a:ln>
                <a:solidFill>
                  <a:srgbClr val="000000"/>
                </a:solidFill>
                <a:effectLst/>
                <a:uLnTx/>
                <a:uFillTx/>
                <a:latin typeface="Arial"/>
                <a:ea typeface="+mn-ea"/>
                <a:cs typeface="+mn-cs"/>
              </a:rPr>
              <a:t>prywatne</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Zarejestrowany</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OS </a:t>
            </a:r>
            <a:r>
              <a:rPr kumimoji="0" lang="en-US" sz="1600" i="0" u="none" strike="noStrike" kern="1200" cap="none" spc="0" normalizeH="0" baseline="0" noProof="0" dirty="0" err="1">
                <a:ln>
                  <a:noFill/>
                </a:ln>
                <a:solidFill>
                  <a:srgbClr val="000000"/>
                </a:solidFill>
                <a:effectLst/>
                <a:uLnTx/>
                <a:uFillTx/>
                <a:latin typeface="Arial"/>
                <a:ea typeface="+mn-ea"/>
                <a:cs typeface="+mn-cs"/>
              </a:rPr>
              <a:t>aktualny</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Rounded Rectangle 73"/>
          <p:cNvSpPr/>
          <p:nvPr/>
        </p:nvSpPr>
        <p:spPr>
          <a:xfrm>
            <a:off x="6159695" y="3962382"/>
            <a:ext cx="2857716" cy="549613"/>
          </a:xfrm>
          <a:prstGeom prst="roundRect">
            <a:avLst>
              <a:gd name="adj" fmla="val 0"/>
            </a:avLst>
          </a:prstGeom>
          <a:solidFill>
            <a:schemeClr val="accent1"/>
          </a:solidFill>
          <a:ln w="19050" cmpd="sng">
            <a:noFill/>
            <a:round/>
            <a:headEnd/>
            <a:tailEnd/>
          </a:ln>
        </p:spPr>
        <p:txBody>
          <a:bodyPr vert="horz" wrap="square" lIns="121920" tIns="60960" rIns="121920" bIns="60960" numCol="1"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a:ea typeface="+mn-ea"/>
                <a:cs typeface="+mn-cs"/>
              </a:rPr>
              <a:t>Urządzenia</a:t>
            </a:r>
            <a:r>
              <a:rPr kumimoji="0" lang="en-US" sz="1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 </a:t>
            </a:r>
            <a:r>
              <a:rPr kumimoji="0" lang="en-US" sz="1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a:ea typeface="+mn-ea"/>
                <a:cs typeface="+mn-cs"/>
              </a:rPr>
              <a:t>dostępowe</a:t>
            </a:r>
            <a:endParaRPr kumimoji="0" lang="en-US" sz="1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75" name="TextBox 74"/>
          <p:cNvSpPr txBox="1"/>
          <p:nvPr/>
        </p:nvSpPr>
        <p:spPr>
          <a:xfrm>
            <a:off x="3203584" y="4807517"/>
            <a:ext cx="2956111" cy="1077218"/>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Kowalski, Jan </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err="1">
                <a:solidFill>
                  <a:srgbClr val="000000"/>
                </a:solidFill>
                <a:latin typeface="Arial"/>
              </a:rPr>
              <a:t>Stanowisko</a:t>
            </a:r>
            <a:r>
              <a:rPr kumimoji="0" lang="en-US" sz="1600" i="0" u="none" strike="noStrike" kern="1200" cap="none" spc="0" normalizeH="0" baseline="0" noProof="0" dirty="0">
                <a:ln>
                  <a:noFill/>
                </a:ln>
                <a:solidFill>
                  <a:srgbClr val="000000"/>
                </a:solidFill>
                <a:effectLst/>
                <a:uLnTx/>
                <a:uFillTx/>
                <a:latin typeface="Arial"/>
                <a:ea typeface="+mn-ea"/>
                <a:cs typeface="+mn-cs"/>
              </a:rPr>
              <a:t> – </a:t>
            </a:r>
            <a:r>
              <a:rPr lang="en-US" sz="1600" dirty="0" err="1">
                <a:solidFill>
                  <a:srgbClr val="000000"/>
                </a:solidFill>
                <a:latin typeface="Arial"/>
              </a:rPr>
              <a:t>Dyrektor</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err="1">
                <a:solidFill>
                  <a:srgbClr val="000000"/>
                </a:solidFill>
                <a:latin typeface="Arial"/>
              </a:rPr>
              <a:t>Dział</a:t>
            </a:r>
            <a:r>
              <a:rPr kumimoji="0" lang="en-US" sz="1600" i="0" u="none" strike="noStrike" kern="1200" cap="none" spc="0" normalizeH="0" baseline="0" noProof="0" dirty="0">
                <a:ln>
                  <a:noFill/>
                </a:ln>
                <a:solidFill>
                  <a:srgbClr val="000000"/>
                </a:solidFill>
                <a:effectLst/>
                <a:uLnTx/>
                <a:uFillTx/>
                <a:latin typeface="Arial"/>
                <a:ea typeface="+mn-ea"/>
                <a:cs typeface="+mn-cs"/>
              </a:rPr>
              <a:t> – IT</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0000"/>
                </a:solidFill>
                <a:latin typeface="Arial"/>
              </a:rPr>
              <a:t>Miasto</a:t>
            </a:r>
            <a:r>
              <a:rPr kumimoji="0" lang="en-US" sz="1600" i="0" u="none" strike="noStrike" kern="1200" cap="none" spc="0" normalizeH="0" baseline="0" noProof="0" dirty="0">
                <a:ln>
                  <a:noFill/>
                </a:ln>
                <a:solidFill>
                  <a:srgbClr val="000000"/>
                </a:solidFill>
                <a:effectLst/>
                <a:uLnTx/>
                <a:uFillTx/>
                <a:latin typeface="Arial"/>
                <a:ea typeface="+mn-ea"/>
                <a:cs typeface="+mn-cs"/>
              </a:rPr>
              <a:t> – </a:t>
            </a:r>
            <a:r>
              <a:rPr lang="en-US" sz="1600" dirty="0" err="1">
                <a:solidFill>
                  <a:srgbClr val="000000"/>
                </a:solidFill>
                <a:latin typeface="Arial"/>
              </a:rPr>
              <a:t>Łódź</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TextBox 77"/>
          <p:cNvSpPr txBox="1"/>
          <p:nvPr/>
        </p:nvSpPr>
        <p:spPr>
          <a:xfrm>
            <a:off x="6147203" y="4776573"/>
            <a:ext cx="2956111" cy="830997"/>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Lokalizacja</a:t>
            </a:r>
            <a:r>
              <a:rPr kumimoji="0" lang="en-US" sz="1600" i="0" u="none" strike="noStrike" kern="1200" cap="none" spc="0" normalizeH="0" baseline="0" noProof="0" dirty="0">
                <a:ln>
                  <a:noFill/>
                </a:ln>
                <a:solidFill>
                  <a:srgbClr val="000000"/>
                </a:solidFill>
                <a:effectLst/>
                <a:uLnTx/>
                <a:uFillTx/>
                <a:latin typeface="Arial"/>
                <a:ea typeface="+mn-ea"/>
                <a:cs typeface="+mn-cs"/>
              </a:rPr>
              <a:t> – </a:t>
            </a:r>
            <a:r>
              <a:rPr kumimoji="0" lang="en-US" sz="1600" i="0" u="none" strike="noStrike" kern="1200" cap="none" spc="0" normalizeH="0" baseline="0" noProof="0" dirty="0" err="1">
                <a:ln>
                  <a:noFill/>
                </a:ln>
                <a:solidFill>
                  <a:srgbClr val="000000"/>
                </a:solidFill>
                <a:effectLst/>
                <a:uLnTx/>
                <a:uFillTx/>
                <a:latin typeface="Arial"/>
                <a:ea typeface="+mn-ea"/>
                <a:cs typeface="+mn-cs"/>
              </a:rPr>
              <a:t>Budynek</a:t>
            </a:r>
            <a:r>
              <a:rPr kumimoji="0" lang="en-US" sz="1600" i="0" u="none" strike="noStrike" kern="1200" cap="none" spc="0" normalizeH="0" baseline="0" noProof="0" dirty="0">
                <a:ln>
                  <a:noFill/>
                </a:ln>
                <a:solidFill>
                  <a:srgbClr val="000000"/>
                </a:solidFill>
                <a:effectLst/>
                <a:uLnTx/>
                <a:uFillTx/>
                <a:latin typeface="Arial"/>
                <a:ea typeface="+mn-ea"/>
                <a:cs typeface="+mn-cs"/>
              </a:rPr>
              <a:t> A</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err="1">
                <a:solidFill>
                  <a:srgbClr val="000000"/>
                </a:solidFill>
                <a:latin typeface="Arial"/>
              </a:rPr>
              <a:t>Piętro</a:t>
            </a:r>
            <a:r>
              <a:rPr lang="en-US" sz="1600" dirty="0">
                <a:solidFill>
                  <a:srgbClr val="000000"/>
                </a:solidFill>
                <a:latin typeface="Arial"/>
              </a:rPr>
              <a:t> </a:t>
            </a:r>
            <a:r>
              <a:rPr kumimoji="0" lang="en-US" sz="1600" i="0" u="none" strike="noStrike" kern="1200" cap="none" spc="0" normalizeH="0" baseline="0" noProof="0" dirty="0">
                <a:ln>
                  <a:noFill/>
                </a:ln>
                <a:solidFill>
                  <a:srgbClr val="000000"/>
                </a:solidFill>
                <a:effectLst/>
                <a:uLnTx/>
                <a:uFillTx/>
                <a:latin typeface="Arial"/>
                <a:ea typeface="+mn-ea"/>
                <a:cs typeface="+mn-cs"/>
              </a:rPr>
              <a:t>– 3</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Przepustow</a:t>
            </a:r>
            <a:r>
              <a:rPr lang="en-US" sz="1600" dirty="0" err="1">
                <a:solidFill>
                  <a:srgbClr val="000000"/>
                </a:solidFill>
                <a:latin typeface="Arial"/>
              </a:rPr>
              <a:t>ość</a:t>
            </a:r>
            <a:r>
              <a:rPr kumimoji="0" lang="en-US" sz="1600" i="0" u="none" strike="noStrike" kern="1200" cap="none" spc="0" normalizeH="0" baseline="0" noProof="0" dirty="0">
                <a:ln>
                  <a:noFill/>
                </a:ln>
                <a:solidFill>
                  <a:srgbClr val="000000"/>
                </a:solidFill>
                <a:effectLst/>
                <a:uLnTx/>
                <a:uFillTx/>
                <a:latin typeface="Arial"/>
                <a:ea typeface="+mn-ea"/>
                <a:cs typeface="+mn-cs"/>
              </a:rPr>
              <a:t> – 10Mbps</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59271" y="2030324"/>
            <a:ext cx="836588" cy="798983"/>
          </a:xfrm>
          <a:prstGeom prst="rect">
            <a:avLst/>
          </a:prstGeom>
        </p:spPr>
      </p:pic>
      <p:sp>
        <p:nvSpPr>
          <p:cNvPr id="38" name="Rounded Rectangle 37"/>
          <p:cNvSpPr/>
          <p:nvPr/>
        </p:nvSpPr>
        <p:spPr>
          <a:xfrm>
            <a:off x="3234655" y="3926554"/>
            <a:ext cx="2598676" cy="551249"/>
          </a:xfrm>
          <a:prstGeom prst="roundRect">
            <a:avLst>
              <a:gd name="adj" fmla="val 0"/>
            </a:avLst>
          </a:prstGeom>
          <a:solidFill>
            <a:schemeClr val="accent1"/>
          </a:solidFill>
          <a:ln w="19050" cmpd="sng">
            <a:noFill/>
            <a:round/>
            <a:headEnd/>
            <a:tailEnd/>
          </a:ln>
        </p:spPr>
        <p:txBody>
          <a:bodyPr vert="horz" wrap="square" lIns="121920" tIns="60960" rIns="121920" bIns="60960" numCol="1"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b="1" dirty="0">
                <a:solidFill>
                  <a:srgbClr val="FFFFFF"/>
                </a:solidFill>
                <a:effectLst>
                  <a:outerShdw blurRad="38100" dist="38100" dir="2700000" algn="tl">
                    <a:srgbClr val="000000">
                      <a:alpha val="43137"/>
                    </a:srgbClr>
                  </a:outerShdw>
                </a:effectLst>
                <a:latin typeface="Arial"/>
              </a:rPr>
              <a:t>Źródła tożsamości</a:t>
            </a:r>
            <a:endParaRPr kumimoji="0" lang="en-US" sz="1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4" name="Picture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07019" y="4844459"/>
            <a:ext cx="1128775" cy="315777"/>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51645" y="5705823"/>
            <a:ext cx="446942" cy="442428"/>
          </a:xfrm>
          <a:prstGeom prst="rect">
            <a:avLst/>
          </a:prstGeom>
        </p:spPr>
      </p:pic>
      <p:pic>
        <p:nvPicPr>
          <p:cNvPr id="10" name="Picture 9"/>
          <p:cNvPicPr>
            <a:picLocks noChangeAspect="1"/>
          </p:cNvPicPr>
          <p:nvPr/>
        </p:nvPicPr>
        <p:blipFill>
          <a:blip r:embed="rId6"/>
          <a:stretch>
            <a:fillRect/>
          </a:stretch>
        </p:blipFill>
        <p:spPr>
          <a:xfrm>
            <a:off x="812513" y="5796323"/>
            <a:ext cx="826638" cy="230143"/>
          </a:xfrm>
          <a:prstGeom prst="rect">
            <a:avLst/>
          </a:prstGeom>
        </p:spPr>
      </p:pic>
      <p:sp>
        <p:nvSpPr>
          <p:cNvPr id="8" name="Title 7"/>
          <p:cNvSpPr>
            <a:spLocks noGrp="1"/>
          </p:cNvSpPr>
          <p:nvPr>
            <p:ph type="title"/>
          </p:nvPr>
        </p:nvSpPr>
        <p:spPr/>
        <p:txBody>
          <a:bodyPr/>
          <a:lstStyle/>
          <a:p>
            <a:r>
              <a:rPr lang="en-US" dirty="0" err="1">
                <a:solidFill>
                  <a:schemeClr val="tx1"/>
                </a:solidFill>
              </a:rPr>
              <a:t>Źródła</a:t>
            </a:r>
            <a:r>
              <a:rPr lang="en-US" dirty="0">
                <a:solidFill>
                  <a:schemeClr val="tx1"/>
                </a:solidFill>
              </a:rPr>
              <a:t> </a:t>
            </a:r>
            <a:r>
              <a:rPr lang="en-US" dirty="0" err="1">
                <a:solidFill>
                  <a:schemeClr val="tx1"/>
                </a:solidFill>
              </a:rPr>
              <a:t>budowania</a:t>
            </a:r>
            <a:r>
              <a:rPr lang="en-US" dirty="0">
                <a:solidFill>
                  <a:schemeClr val="tx1"/>
                </a:solidFill>
              </a:rPr>
              <a:t> </a:t>
            </a:r>
            <a:r>
              <a:rPr lang="en-US" dirty="0" err="1">
                <a:solidFill>
                  <a:schemeClr val="tx1"/>
                </a:solidFill>
              </a:rPr>
              <a:t>kontekstu</a:t>
            </a:r>
            <a:endParaRPr lang="en-US" dirty="0">
              <a:solidFill>
                <a:schemeClr val="tx1"/>
              </a:solidFill>
            </a:endParaRPr>
          </a:p>
        </p:txBody>
      </p:sp>
      <p:grpSp>
        <p:nvGrpSpPr>
          <p:cNvPr id="11" name="Group 10"/>
          <p:cNvGrpSpPr/>
          <p:nvPr/>
        </p:nvGrpSpPr>
        <p:grpSpPr>
          <a:xfrm>
            <a:off x="1358730" y="1782046"/>
            <a:ext cx="1981200" cy="1888221"/>
            <a:chOff x="3429000" y="1172466"/>
            <a:chExt cx="1981200" cy="1888221"/>
          </a:xfrm>
        </p:grpSpPr>
        <p:pic>
          <p:nvPicPr>
            <p:cNvPr id="41" name="Picture 4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429000" y="2089413"/>
              <a:ext cx="383260" cy="850773"/>
            </a:xfrm>
            <a:prstGeom prst="rect">
              <a:avLst/>
            </a:prstGeom>
          </p:spPr>
        </p:pic>
        <p:pic>
          <p:nvPicPr>
            <p:cNvPr id="3" name="Picture 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559585" y="1172466"/>
              <a:ext cx="850615" cy="1888221"/>
            </a:xfrm>
            <a:prstGeom prst="rect">
              <a:avLst/>
            </a:prstGeom>
          </p:spPr>
        </p:pic>
        <p:sp>
          <p:nvSpPr>
            <p:cNvPr id="5" name="Right Triangle 4"/>
            <p:cNvSpPr/>
            <p:nvPr/>
          </p:nvSpPr>
          <p:spPr bwMode="auto">
            <a:xfrm>
              <a:off x="3843020" y="1472403"/>
              <a:ext cx="754379" cy="1251749"/>
            </a:xfrm>
            <a:custGeom>
              <a:avLst/>
              <a:gdLst>
                <a:gd name="connsiteX0" fmla="*/ 0 w 489401"/>
                <a:gd name="connsiteY0" fmla="*/ 819504 h 819504"/>
                <a:gd name="connsiteX1" fmla="*/ 0 w 489401"/>
                <a:gd name="connsiteY1" fmla="*/ 0 h 819504"/>
                <a:gd name="connsiteX2" fmla="*/ 489401 w 489401"/>
                <a:gd name="connsiteY2" fmla="*/ 819504 h 819504"/>
                <a:gd name="connsiteX3" fmla="*/ 0 w 489401"/>
                <a:gd name="connsiteY3" fmla="*/ 819504 h 819504"/>
                <a:gd name="connsiteX0" fmla="*/ 0 w 504825"/>
                <a:gd name="connsiteY0" fmla="*/ 1124304 h 1124304"/>
                <a:gd name="connsiteX1" fmla="*/ 504825 w 504825"/>
                <a:gd name="connsiteY1" fmla="*/ 0 h 1124304"/>
                <a:gd name="connsiteX2" fmla="*/ 489401 w 504825"/>
                <a:gd name="connsiteY2" fmla="*/ 1124304 h 1124304"/>
                <a:gd name="connsiteX3" fmla="*/ 0 w 504825"/>
                <a:gd name="connsiteY3" fmla="*/ 1124304 h 1124304"/>
                <a:gd name="connsiteX0" fmla="*/ 0 w 390525"/>
                <a:gd name="connsiteY0" fmla="*/ 695679 h 1124304"/>
                <a:gd name="connsiteX1" fmla="*/ 390525 w 390525"/>
                <a:gd name="connsiteY1" fmla="*/ 0 h 1124304"/>
                <a:gd name="connsiteX2" fmla="*/ 375101 w 390525"/>
                <a:gd name="connsiteY2" fmla="*/ 1124304 h 1124304"/>
                <a:gd name="connsiteX3" fmla="*/ 0 w 390525"/>
                <a:gd name="connsiteY3" fmla="*/ 695679 h 1124304"/>
                <a:gd name="connsiteX0" fmla="*/ 0 w 396637"/>
                <a:gd name="connsiteY0" fmla="*/ 695679 h 1115813"/>
                <a:gd name="connsiteX1" fmla="*/ 390525 w 396637"/>
                <a:gd name="connsiteY1" fmla="*/ 0 h 1115813"/>
                <a:gd name="connsiteX2" fmla="*/ 396637 w 396637"/>
                <a:gd name="connsiteY2" fmla="*/ 1115813 h 1115813"/>
                <a:gd name="connsiteX3" fmla="*/ 0 w 396637"/>
                <a:gd name="connsiteY3" fmla="*/ 695679 h 1115813"/>
                <a:gd name="connsiteX0" fmla="*/ 0 w 360743"/>
                <a:gd name="connsiteY0" fmla="*/ 907944 h 1115813"/>
                <a:gd name="connsiteX1" fmla="*/ 354631 w 360743"/>
                <a:gd name="connsiteY1" fmla="*/ 0 h 1115813"/>
                <a:gd name="connsiteX2" fmla="*/ 360743 w 360743"/>
                <a:gd name="connsiteY2" fmla="*/ 1115813 h 1115813"/>
                <a:gd name="connsiteX3" fmla="*/ 0 w 360743"/>
                <a:gd name="connsiteY3" fmla="*/ 907944 h 1115813"/>
              </a:gdLst>
              <a:ahLst/>
              <a:cxnLst>
                <a:cxn ang="0">
                  <a:pos x="connsiteX0" y="connsiteY0"/>
                </a:cxn>
                <a:cxn ang="0">
                  <a:pos x="connsiteX1" y="connsiteY1"/>
                </a:cxn>
                <a:cxn ang="0">
                  <a:pos x="connsiteX2" y="connsiteY2"/>
                </a:cxn>
                <a:cxn ang="0">
                  <a:pos x="connsiteX3" y="connsiteY3"/>
                </a:cxn>
              </a:cxnLst>
              <a:rect l="l" t="t" r="r" b="b"/>
              <a:pathLst>
                <a:path w="360743" h="1115813">
                  <a:moveTo>
                    <a:pt x="0" y="907944"/>
                  </a:moveTo>
                  <a:lnTo>
                    <a:pt x="354631" y="0"/>
                  </a:lnTo>
                  <a:cubicBezTo>
                    <a:pt x="356668" y="371938"/>
                    <a:pt x="358706" y="743875"/>
                    <a:pt x="360743" y="1115813"/>
                  </a:cubicBezTo>
                  <a:lnTo>
                    <a:pt x="0" y="907944"/>
                  </a:lnTo>
                  <a:close/>
                </a:path>
              </a:pathLst>
            </a:cu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rial" charset="0"/>
                <a:ea typeface="ＭＳ Ｐゴシック" pitchFamily="34" charset="-128"/>
                <a:cs typeface="+mn-cs"/>
              </a:endParaRPr>
            </a:p>
          </p:txBody>
        </p:sp>
      </p:grpSp>
      <p:sp>
        <p:nvSpPr>
          <p:cNvPr id="6" name="TextBox 5"/>
          <p:cNvSpPr txBox="1"/>
          <p:nvPr/>
        </p:nvSpPr>
        <p:spPr>
          <a:xfrm>
            <a:off x="3365612" y="2172510"/>
            <a:ext cx="2488789" cy="1077218"/>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Samsung SM-G950U</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Android</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Jons-GalaxyS20”</a:t>
            </a:r>
            <a:endParaRPr kumimoji="0" lang="pl-PL" sz="160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600" dirty="0">
                <a:solidFill>
                  <a:srgbClr val="000000"/>
                </a:solidFill>
                <a:latin typeface="Arial"/>
              </a:rPr>
              <a:t>Iphone - Piotr</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pic>
        <p:nvPicPr>
          <p:cNvPr id="45" name="Picture 4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194130" y="1143000"/>
            <a:ext cx="850615" cy="1888221"/>
          </a:xfrm>
          <a:prstGeom prst="rect">
            <a:avLst/>
          </a:prstGeom>
        </p:spPr>
      </p:pic>
      <p:sp>
        <p:nvSpPr>
          <p:cNvPr id="72" name="TextBox 71"/>
          <p:cNvSpPr txBox="1"/>
          <p:nvPr/>
        </p:nvSpPr>
        <p:spPr>
          <a:xfrm>
            <a:off x="9017411" y="2879944"/>
            <a:ext cx="2488789" cy="830997"/>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Kowalski, Jan</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UEM </a:t>
            </a:r>
            <a:r>
              <a:rPr kumimoji="0" lang="en-US" sz="1600" i="0" u="none" strike="noStrike" kern="1200" cap="none" spc="0" normalizeH="0" baseline="0" noProof="0" dirty="0" err="1">
                <a:ln>
                  <a:noFill/>
                </a:ln>
                <a:solidFill>
                  <a:srgbClr val="000000"/>
                </a:solidFill>
                <a:effectLst/>
                <a:uLnTx/>
                <a:uFillTx/>
                <a:latin typeface="Arial"/>
                <a:ea typeface="+mn-ea"/>
                <a:cs typeface="+mn-cs"/>
              </a:rPr>
              <a:t>włączony</a:t>
            </a:r>
            <a:r>
              <a:rPr kumimoji="0" lang="en-US" sz="1600" i="0" u="none" strike="noStrike" kern="1200" cap="none" spc="0" normalizeH="0" baseline="0" noProof="0" dirty="0">
                <a:ln>
                  <a:noFill/>
                </a:ln>
                <a:solidFill>
                  <a:srgbClr val="000000"/>
                </a:solidFill>
                <a:effectLst/>
                <a:uLnTx/>
                <a:uFillTx/>
                <a:latin typeface="Arial"/>
                <a:ea typeface="+mn-ea"/>
                <a:cs typeface="+mn-cs"/>
              </a:rPr>
              <a:t> = </a:t>
            </a:r>
            <a:r>
              <a:rPr kumimoji="0" lang="en-US" sz="1600" i="0" u="none" strike="noStrike" kern="1200" cap="none" spc="0" normalizeH="0" baseline="0" noProof="0" dirty="0" err="1">
                <a:ln>
                  <a:noFill/>
                </a:ln>
                <a:solidFill>
                  <a:srgbClr val="000000"/>
                </a:solidFill>
                <a:effectLst/>
                <a:uLnTx/>
                <a:uFillTx/>
                <a:latin typeface="Arial"/>
                <a:ea typeface="+mn-ea"/>
                <a:cs typeface="+mn-cs"/>
              </a:rPr>
              <a:t>tak</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Zgodny</a:t>
            </a:r>
            <a:r>
              <a:rPr kumimoji="0" lang="en-US" sz="1600" i="0" u="none" strike="noStrike" kern="1200" cap="none" spc="0" normalizeH="0" baseline="0" noProof="0" dirty="0">
                <a:ln>
                  <a:noFill/>
                </a:ln>
                <a:solidFill>
                  <a:srgbClr val="000000"/>
                </a:solidFill>
                <a:effectLst/>
                <a:uLnTx/>
                <a:uFillTx/>
                <a:latin typeface="Arial"/>
                <a:ea typeface="+mn-ea"/>
                <a:cs typeface="+mn-cs"/>
              </a:rPr>
              <a:t> = </a:t>
            </a:r>
            <a:r>
              <a:rPr kumimoji="0" lang="en-US" sz="1600" i="0" u="none" strike="noStrike" kern="1200" cap="none" spc="0" normalizeH="0" baseline="0" noProof="0" dirty="0" err="1">
                <a:ln>
                  <a:noFill/>
                </a:ln>
                <a:solidFill>
                  <a:srgbClr val="000000"/>
                </a:solidFill>
                <a:effectLst/>
                <a:uLnTx/>
                <a:uFillTx/>
                <a:latin typeface="Arial"/>
                <a:ea typeface="+mn-ea"/>
                <a:cs typeface="+mn-cs"/>
              </a:rPr>
              <a:t>tak</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2513" y="5371595"/>
            <a:ext cx="791755" cy="200602"/>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7145" y="3964552"/>
            <a:ext cx="1963003" cy="926973"/>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925415" y="4776573"/>
            <a:ext cx="669702" cy="346571"/>
          </a:xfrm>
          <a:prstGeom prst="rect">
            <a:avLst/>
          </a:prstGeom>
        </p:spPr>
      </p:pic>
      <p:pic>
        <p:nvPicPr>
          <p:cNvPr id="16" name="Picture 1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925415" y="5371595"/>
            <a:ext cx="619047" cy="208990"/>
          </a:xfrm>
          <a:prstGeom prst="rect">
            <a:avLst/>
          </a:prstGeom>
        </p:spPr>
      </p:pic>
      <p:pic>
        <p:nvPicPr>
          <p:cNvPr id="17" name="Picture 1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832011" y="5769175"/>
            <a:ext cx="379076" cy="379076"/>
          </a:xfrm>
          <a:prstGeom prst="rect">
            <a:avLst/>
          </a:prstGeom>
        </p:spPr>
      </p:pic>
      <p:pic>
        <p:nvPicPr>
          <p:cNvPr id="19" name="Picture 18"/>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63457" y="2684623"/>
            <a:ext cx="674731" cy="985644"/>
          </a:xfrm>
          <a:prstGeom prst="rect">
            <a:avLst/>
          </a:prstGeom>
        </p:spPr>
      </p:pic>
      <p:pic>
        <p:nvPicPr>
          <p:cNvPr id="20" name="Picture 1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497555" y="1877710"/>
            <a:ext cx="1093910" cy="1093910"/>
          </a:xfrm>
          <a:prstGeom prst="rect">
            <a:avLst/>
          </a:prstGeom>
        </p:spPr>
      </p:pic>
      <p:pic>
        <p:nvPicPr>
          <p:cNvPr id="21" name="Picture 20"/>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1790082" y="2952856"/>
            <a:ext cx="754380" cy="518948"/>
          </a:xfrm>
          <a:prstGeom prst="rect">
            <a:avLst/>
          </a:prstGeom>
        </p:spPr>
      </p:pic>
      <p:pic>
        <p:nvPicPr>
          <p:cNvPr id="18" name="Picture 17"/>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556576" y="1617207"/>
            <a:ext cx="1363223" cy="918232"/>
          </a:xfrm>
          <a:prstGeom prst="rect">
            <a:avLst/>
          </a:prstGeom>
        </p:spPr>
      </p:pic>
      <p:sp>
        <p:nvSpPr>
          <p:cNvPr id="53" name="Rounded Rectangle 52"/>
          <p:cNvSpPr/>
          <p:nvPr/>
        </p:nvSpPr>
        <p:spPr>
          <a:xfrm>
            <a:off x="3096518" y="1132310"/>
            <a:ext cx="2694868" cy="551403"/>
          </a:xfrm>
          <a:prstGeom prst="roundRect">
            <a:avLst>
              <a:gd name="adj" fmla="val 0"/>
            </a:avLst>
          </a:prstGeom>
          <a:solidFill>
            <a:schemeClr val="accent1"/>
          </a:solidFill>
          <a:ln w="19050" cmpd="sng">
            <a:noFill/>
            <a:round/>
            <a:headEnd/>
            <a:tailEnd/>
          </a:ln>
        </p:spPr>
        <p:txBody>
          <a:bodyPr vert="horz" wrap="square" lIns="121920" tIns="60960" rIns="121920" bIns="60960" numCol="1"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a:ea typeface="+mn-ea"/>
                <a:cs typeface="+mn-cs"/>
              </a:rPr>
              <a:t>Profilowanie</a:t>
            </a:r>
            <a:r>
              <a:rPr kumimoji="0" lang="en-US" sz="1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 </a:t>
            </a:r>
            <a:r>
              <a:rPr kumimoji="0" lang="en-US" sz="1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Arial"/>
                <a:ea typeface="+mn-ea"/>
                <a:cs typeface="+mn-cs"/>
              </a:rPr>
              <a:t>urządzeń</a:t>
            </a:r>
            <a:endParaRPr kumimoji="0" lang="en-US" sz="1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pic>
        <p:nvPicPr>
          <p:cNvPr id="22" name="Picture 21"/>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933167" y="1582372"/>
            <a:ext cx="542779" cy="401819"/>
          </a:xfrm>
          <a:prstGeom prst="rect">
            <a:avLst/>
          </a:prstGeom>
        </p:spPr>
      </p:pic>
      <p:sp>
        <p:nvSpPr>
          <p:cNvPr id="42" name="Rectangle 41">
            <a:extLst>
              <a:ext uri="{FF2B5EF4-FFF2-40B4-BE49-F238E27FC236}">
                <a16:creationId xmlns:a16="http://schemas.microsoft.com/office/drawing/2014/main" id="{47FF05C3-BF4F-4C90-BDBE-500B808EBF2F}"/>
              </a:ext>
            </a:extLst>
          </p:cNvPr>
          <p:cNvSpPr/>
          <p:nvPr/>
        </p:nvSpPr>
        <p:spPr bwMode="ltGray">
          <a:xfrm>
            <a:off x="6062096" y="1065492"/>
            <a:ext cx="5389476" cy="2644141"/>
          </a:xfrm>
          <a:prstGeom prst="rect">
            <a:avLst/>
          </a:pr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D6906541-250A-40A7-A295-FAFEBB437307}"/>
              </a:ext>
            </a:extLst>
          </p:cNvPr>
          <p:cNvSpPr/>
          <p:nvPr/>
        </p:nvSpPr>
        <p:spPr bwMode="ltGray">
          <a:xfrm>
            <a:off x="476396" y="3870060"/>
            <a:ext cx="5389476" cy="2419873"/>
          </a:xfrm>
          <a:prstGeom prst="rect">
            <a:avLst/>
          </a:pr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DB99EBA0-6910-472F-934C-39AB9BF69592}"/>
              </a:ext>
            </a:extLst>
          </p:cNvPr>
          <p:cNvSpPr/>
          <p:nvPr/>
        </p:nvSpPr>
        <p:spPr bwMode="ltGray">
          <a:xfrm>
            <a:off x="6074726" y="3879583"/>
            <a:ext cx="5389476" cy="2419873"/>
          </a:xfrm>
          <a:prstGeom prst="rect">
            <a:avLst/>
          </a:pr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5" name="Picture 24" descr="A white t-shirt with black text&#10;&#10;Description automatically generated with medium confidence">
            <a:extLst>
              <a:ext uri="{FF2B5EF4-FFF2-40B4-BE49-F238E27FC236}">
                <a16:creationId xmlns:a16="http://schemas.microsoft.com/office/drawing/2014/main" id="{A78134C6-CA36-4326-91C2-D7EDA409ADF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093400" y="4542746"/>
            <a:ext cx="888302" cy="973266"/>
          </a:xfrm>
          <a:prstGeom prst="rect">
            <a:avLst/>
          </a:prstGeom>
        </p:spPr>
      </p:pic>
      <p:pic>
        <p:nvPicPr>
          <p:cNvPr id="27" name="Picture 26" descr="Graphical user interface&#10;&#10;Description automatically generated">
            <a:extLst>
              <a:ext uri="{FF2B5EF4-FFF2-40B4-BE49-F238E27FC236}">
                <a16:creationId xmlns:a16="http://schemas.microsoft.com/office/drawing/2014/main" id="{BC309846-888E-446C-9941-BBD85447ABC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680422" y="4931484"/>
            <a:ext cx="2568686" cy="1926515"/>
          </a:xfrm>
          <a:prstGeom prst="rect">
            <a:avLst/>
          </a:prstGeom>
        </p:spPr>
      </p:pic>
      <p:pic>
        <p:nvPicPr>
          <p:cNvPr id="29" name="Picture 28" descr="A picture containing diagram&#10;&#10;Description automatically generated">
            <a:extLst>
              <a:ext uri="{FF2B5EF4-FFF2-40B4-BE49-F238E27FC236}">
                <a16:creationId xmlns:a16="http://schemas.microsoft.com/office/drawing/2014/main" id="{EE6FFDDA-A17D-47F2-A58F-CFF178707E0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004996" y="4528167"/>
            <a:ext cx="901106" cy="973265"/>
          </a:xfrm>
          <a:prstGeom prst="rect">
            <a:avLst/>
          </a:prstGeom>
        </p:spPr>
      </p:pic>
      <p:sp>
        <p:nvSpPr>
          <p:cNvPr id="7" name="Slide Number Placeholder 1">
            <a:extLst>
              <a:ext uri="{FF2B5EF4-FFF2-40B4-BE49-F238E27FC236}">
                <a16:creationId xmlns:a16="http://schemas.microsoft.com/office/drawing/2014/main" id="{292D12BD-5CBA-98EE-8A9B-A2A9F5A20F41}"/>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6</a:t>
            </a:fld>
            <a:endParaRPr lang="en-US" dirty="0"/>
          </a:p>
        </p:txBody>
      </p:sp>
    </p:spTree>
    <p:extLst>
      <p:ext uri="{BB962C8B-B14F-4D97-AF65-F5344CB8AC3E}">
        <p14:creationId xmlns:p14="http://schemas.microsoft.com/office/powerpoint/2010/main" val="19943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Freeform 2048"/>
          <p:cNvSpPr/>
          <p:nvPr/>
        </p:nvSpPr>
        <p:spPr>
          <a:xfrm>
            <a:off x="3380999" y="3385842"/>
            <a:ext cx="5225143" cy="0"/>
          </a:xfrm>
          <a:custGeom>
            <a:avLst/>
            <a:gdLst>
              <a:gd name="connsiteX0" fmla="*/ 0 w 5225143"/>
              <a:gd name="connsiteY0" fmla="*/ 0 h 0"/>
              <a:gd name="connsiteX1" fmla="*/ 5225143 w 5225143"/>
              <a:gd name="connsiteY1" fmla="*/ 0 h 0"/>
            </a:gdLst>
            <a:ahLst/>
            <a:cxnLst>
              <a:cxn ang="0">
                <a:pos x="connsiteX0" y="connsiteY0"/>
              </a:cxn>
              <a:cxn ang="0">
                <a:pos x="connsiteX1" y="connsiteY1"/>
              </a:cxn>
            </a:cxnLst>
            <a:rect l="l" t="t" r="r" b="b"/>
            <a:pathLst>
              <a:path w="5225143">
                <a:moveTo>
                  <a:pt x="0" y="0"/>
                </a:moveTo>
                <a:lnTo>
                  <a:pt x="5225143" y="0"/>
                </a:lnTo>
              </a:path>
            </a:pathLst>
          </a:custGeom>
          <a:noFill/>
          <a:ln w="31750" cap="rnd">
            <a:solidFill>
              <a:srgbClr val="58595D"/>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8" name="Freeform 157"/>
          <p:cNvSpPr/>
          <p:nvPr/>
        </p:nvSpPr>
        <p:spPr>
          <a:xfrm>
            <a:off x="3380999" y="3899025"/>
            <a:ext cx="5225143" cy="0"/>
          </a:xfrm>
          <a:custGeom>
            <a:avLst/>
            <a:gdLst>
              <a:gd name="connsiteX0" fmla="*/ 0 w 5225143"/>
              <a:gd name="connsiteY0" fmla="*/ 0 h 0"/>
              <a:gd name="connsiteX1" fmla="*/ 5225143 w 5225143"/>
              <a:gd name="connsiteY1" fmla="*/ 0 h 0"/>
            </a:gdLst>
            <a:ahLst/>
            <a:cxnLst>
              <a:cxn ang="0">
                <a:pos x="connsiteX0" y="connsiteY0"/>
              </a:cxn>
              <a:cxn ang="0">
                <a:pos x="connsiteX1" y="connsiteY1"/>
              </a:cxn>
            </a:cxnLst>
            <a:rect l="l" t="t" r="r" b="b"/>
            <a:pathLst>
              <a:path w="5225143">
                <a:moveTo>
                  <a:pt x="0" y="0"/>
                </a:moveTo>
                <a:lnTo>
                  <a:pt x="5225143" y="0"/>
                </a:lnTo>
              </a:path>
            </a:pathLst>
          </a:custGeom>
          <a:noFill/>
          <a:ln w="31750" cap="rnd">
            <a:solidFill>
              <a:srgbClr val="58595D"/>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9" name="Freeform 158"/>
          <p:cNvSpPr/>
          <p:nvPr/>
        </p:nvSpPr>
        <p:spPr>
          <a:xfrm>
            <a:off x="3380999" y="4440201"/>
            <a:ext cx="5225143" cy="0"/>
          </a:xfrm>
          <a:custGeom>
            <a:avLst/>
            <a:gdLst>
              <a:gd name="connsiteX0" fmla="*/ 0 w 5225143"/>
              <a:gd name="connsiteY0" fmla="*/ 0 h 0"/>
              <a:gd name="connsiteX1" fmla="*/ 5225143 w 5225143"/>
              <a:gd name="connsiteY1" fmla="*/ 0 h 0"/>
            </a:gdLst>
            <a:ahLst/>
            <a:cxnLst>
              <a:cxn ang="0">
                <a:pos x="connsiteX0" y="connsiteY0"/>
              </a:cxn>
              <a:cxn ang="0">
                <a:pos x="connsiteX1" y="connsiteY1"/>
              </a:cxn>
            </a:cxnLst>
            <a:rect l="l" t="t" r="r" b="b"/>
            <a:pathLst>
              <a:path w="5225143">
                <a:moveTo>
                  <a:pt x="0" y="0"/>
                </a:moveTo>
                <a:lnTo>
                  <a:pt x="5225143" y="0"/>
                </a:lnTo>
              </a:path>
            </a:pathLst>
          </a:custGeom>
          <a:noFill/>
          <a:ln w="31750" cap="rnd">
            <a:solidFill>
              <a:srgbClr val="58595D"/>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0" name="Freeform 159"/>
          <p:cNvSpPr/>
          <p:nvPr/>
        </p:nvSpPr>
        <p:spPr>
          <a:xfrm>
            <a:off x="3380999" y="4953384"/>
            <a:ext cx="5225143" cy="0"/>
          </a:xfrm>
          <a:custGeom>
            <a:avLst/>
            <a:gdLst>
              <a:gd name="connsiteX0" fmla="*/ 0 w 5225143"/>
              <a:gd name="connsiteY0" fmla="*/ 0 h 0"/>
              <a:gd name="connsiteX1" fmla="*/ 5225143 w 5225143"/>
              <a:gd name="connsiteY1" fmla="*/ 0 h 0"/>
            </a:gdLst>
            <a:ahLst/>
            <a:cxnLst>
              <a:cxn ang="0">
                <a:pos x="connsiteX0" y="connsiteY0"/>
              </a:cxn>
              <a:cxn ang="0">
                <a:pos x="connsiteX1" y="connsiteY1"/>
              </a:cxn>
            </a:cxnLst>
            <a:rect l="l" t="t" r="r" b="b"/>
            <a:pathLst>
              <a:path w="5225143">
                <a:moveTo>
                  <a:pt x="0" y="0"/>
                </a:moveTo>
                <a:lnTo>
                  <a:pt x="5225143" y="0"/>
                </a:lnTo>
              </a:path>
            </a:pathLst>
          </a:custGeom>
          <a:noFill/>
          <a:ln w="31750" cap="rnd">
            <a:solidFill>
              <a:srgbClr val="58595D"/>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13" name="Rectangle 112"/>
          <p:cNvSpPr/>
          <p:nvPr/>
        </p:nvSpPr>
        <p:spPr>
          <a:xfrm>
            <a:off x="9028966" y="3646524"/>
            <a:ext cx="1985719" cy="505031"/>
          </a:xfrm>
          <a:prstGeom prst="rect">
            <a:avLst/>
          </a:prstGeom>
          <a:solidFill>
            <a:srgbClr val="FF5440"/>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14" name="Rectangle 113"/>
          <p:cNvSpPr/>
          <p:nvPr/>
        </p:nvSpPr>
        <p:spPr>
          <a:xfrm>
            <a:off x="9028966" y="4185143"/>
            <a:ext cx="1985719" cy="505031"/>
          </a:xfrm>
          <a:prstGeom prst="rect">
            <a:avLst/>
          </a:prstGeom>
          <a:solidFill>
            <a:srgbClr val="FF5440"/>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15" name="Rectangle 114"/>
          <p:cNvSpPr/>
          <p:nvPr/>
        </p:nvSpPr>
        <p:spPr>
          <a:xfrm>
            <a:off x="9028966" y="4723762"/>
            <a:ext cx="1985719" cy="505031"/>
          </a:xfrm>
          <a:prstGeom prst="rect">
            <a:avLst/>
          </a:prstGeom>
          <a:solidFill>
            <a:srgbClr val="00A982"/>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Rectangle 115"/>
          <p:cNvSpPr/>
          <p:nvPr/>
        </p:nvSpPr>
        <p:spPr>
          <a:xfrm>
            <a:off x="9028966" y="3107905"/>
            <a:ext cx="1985719" cy="505031"/>
          </a:xfrm>
          <a:prstGeom prst="rect">
            <a:avLst/>
          </a:prstGeom>
          <a:solidFill>
            <a:srgbClr val="00A982"/>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ounded Rectangle 14"/>
          <p:cNvSpPr/>
          <p:nvPr/>
        </p:nvSpPr>
        <p:spPr>
          <a:xfrm>
            <a:off x="5556503" y="3799561"/>
            <a:ext cx="1185742" cy="770562"/>
          </a:xfrm>
          <a:prstGeom prst="roundRect">
            <a:avLst/>
          </a:prstGeom>
          <a:solidFill>
            <a:srgbClr val="FEBF7D"/>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71" name="Rectangle 70">
            <a:extLst>
              <a:ext uri="{FF2B5EF4-FFF2-40B4-BE49-F238E27FC236}">
                <a16:creationId xmlns:a16="http://schemas.microsoft.com/office/drawing/2014/main" id="{5DF20159-E989-074E-B6A5-7734A42BEB92}"/>
              </a:ext>
            </a:extLst>
          </p:cNvPr>
          <p:cNvSpPr/>
          <p:nvPr/>
        </p:nvSpPr>
        <p:spPr>
          <a:xfrm>
            <a:off x="722965" y="1882927"/>
            <a:ext cx="3391788" cy="553998"/>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600" b="1" i="0" u="none" strike="noStrike" kern="0" cap="none" spc="0" normalizeH="0" baseline="0" noProof="0" dirty="0" err="1">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ClearPass</a:t>
            </a:r>
            <a:r>
              <a:rPr kumimoji="0" lang="en-US" sz="16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Device Insight</a:t>
            </a:r>
            <a:br>
              <a:rPr kumimoji="0" lang="en-US" sz="16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br>
            <a:r>
              <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t>
            </a:r>
            <a:r>
              <a:rPr kumimoji="0" lang="en-US" sz="1400" b="0" i="0" u="none" strike="noStrike" kern="0" cap="none" spc="0" normalizeH="0" baseline="0" noProof="0" dirty="0" err="1">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oT</a:t>
            </a:r>
            <a:r>
              <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Detection, Continuous Monitor)</a:t>
            </a:r>
            <a:endParaRPr kumimoji="0" lang="en-US" sz="14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72" name="Rectangle 71">
            <a:extLst>
              <a:ext uri="{FF2B5EF4-FFF2-40B4-BE49-F238E27FC236}">
                <a16:creationId xmlns:a16="http://schemas.microsoft.com/office/drawing/2014/main" id="{5DF20159-E989-074E-B6A5-7734A42BEB92}"/>
              </a:ext>
            </a:extLst>
          </p:cNvPr>
          <p:cNvSpPr/>
          <p:nvPr/>
        </p:nvSpPr>
        <p:spPr>
          <a:xfrm>
            <a:off x="4440746" y="1882927"/>
            <a:ext cx="3391788" cy="553998"/>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600" b="1" i="0" u="none" strike="noStrike" kern="0" cap="none" spc="0" normalizeH="0" baseline="0" noProof="0" dirty="0" err="1">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ClearPass</a:t>
            </a:r>
            <a:r>
              <a:rPr kumimoji="0" lang="en-US" sz="16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Policy Manager</a:t>
            </a:r>
            <a:br>
              <a:rPr kumimoji="0" lang="en-US" sz="16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br>
            <a:r>
              <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Centralized Policy Management)</a:t>
            </a:r>
            <a:endParaRPr kumimoji="0" lang="en-US" sz="1400" b="1"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73" name="Rectangle 72">
            <a:extLst>
              <a:ext uri="{FF2B5EF4-FFF2-40B4-BE49-F238E27FC236}">
                <a16:creationId xmlns:a16="http://schemas.microsoft.com/office/drawing/2014/main" id="{5DF20159-E989-074E-B6A5-7734A42BEB92}"/>
              </a:ext>
            </a:extLst>
          </p:cNvPr>
          <p:cNvSpPr/>
          <p:nvPr/>
        </p:nvSpPr>
        <p:spPr>
          <a:xfrm>
            <a:off x="1386636" y="2555104"/>
            <a:ext cx="1998245" cy="523220"/>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400" b="0" i="0" u="none" strike="noStrike" kern="0" cap="none" spc="0" normalizeH="0" baseline="0" noProof="0" dirty="0">
                <a:ln>
                  <a:noFill/>
                </a:ln>
                <a:solidFill>
                  <a:srgbClr val="FF76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UŻYTKOWNICY </a:t>
            </a:r>
            <a:br>
              <a:rPr kumimoji="0" lang="pl-PL" sz="1400" b="0" i="0" u="none" strike="noStrike" kern="0" cap="none" spc="0" normalizeH="0" baseline="0" noProof="0" dirty="0">
                <a:ln>
                  <a:noFill/>
                </a:ln>
                <a:solidFill>
                  <a:srgbClr val="FF76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br>
            <a:r>
              <a:rPr kumimoji="0" lang="en-US" sz="1400" b="0" i="0" u="none" strike="noStrike" kern="0" cap="none" spc="0" normalizeH="0" baseline="0" noProof="0" dirty="0">
                <a:ln>
                  <a:noFill/>
                </a:ln>
                <a:solidFill>
                  <a:srgbClr val="FF76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 URZĄDZENIA</a:t>
            </a:r>
          </a:p>
        </p:txBody>
      </p:sp>
      <p:sp>
        <p:nvSpPr>
          <p:cNvPr id="74" name="Rectangle 73">
            <a:extLst>
              <a:ext uri="{FF2B5EF4-FFF2-40B4-BE49-F238E27FC236}">
                <a16:creationId xmlns:a16="http://schemas.microsoft.com/office/drawing/2014/main" id="{5DF20159-E989-074E-B6A5-7734A42BEB92}"/>
              </a:ext>
            </a:extLst>
          </p:cNvPr>
          <p:cNvSpPr/>
          <p:nvPr/>
        </p:nvSpPr>
        <p:spPr>
          <a:xfrm>
            <a:off x="3276045" y="3091634"/>
            <a:ext cx="1998245" cy="307777"/>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RZEŁĄCZNIK</a:t>
            </a:r>
          </a:p>
        </p:txBody>
      </p:sp>
      <p:sp>
        <p:nvSpPr>
          <p:cNvPr id="75" name="Rectangle 74">
            <a:extLst>
              <a:ext uri="{FF2B5EF4-FFF2-40B4-BE49-F238E27FC236}">
                <a16:creationId xmlns:a16="http://schemas.microsoft.com/office/drawing/2014/main" id="{5DF20159-E989-074E-B6A5-7734A42BEB92}"/>
              </a:ext>
            </a:extLst>
          </p:cNvPr>
          <p:cNvSpPr/>
          <p:nvPr/>
        </p:nvSpPr>
        <p:spPr>
          <a:xfrm>
            <a:off x="3276045" y="4975136"/>
            <a:ext cx="1998245" cy="307777"/>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lang="pl-PL" sz="1400" kern="0" dirty="0">
                <a:solidFill>
                  <a:srgbClr val="58595D"/>
                </a:solidFill>
                <a:latin typeface="Open Sans" panose="020B0606030504020204" pitchFamily="34" charset="0"/>
                <a:ea typeface="Open Sans" panose="020B0606030504020204" pitchFamily="34" charset="0"/>
                <a:cs typeface="Open Sans" panose="020B0606030504020204" pitchFamily="34" charset="0"/>
                <a:sym typeface="Open Sans"/>
              </a:rPr>
              <a:t>PUNKT DOSTĘPOWY</a:t>
            </a:r>
            <a:endPar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76" name="Rectangle 75">
            <a:extLst>
              <a:ext uri="{FF2B5EF4-FFF2-40B4-BE49-F238E27FC236}">
                <a16:creationId xmlns:a16="http://schemas.microsoft.com/office/drawing/2014/main" id="{5DF20159-E989-074E-B6A5-7734A42BEB92}"/>
              </a:ext>
            </a:extLst>
          </p:cNvPr>
          <p:cNvSpPr/>
          <p:nvPr/>
        </p:nvSpPr>
        <p:spPr>
          <a:xfrm>
            <a:off x="4648594" y="3508399"/>
            <a:ext cx="3001560" cy="276999"/>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200" b="0" i="0" u="none" strike="noStrike" kern="0" cap="none" spc="0" normalizeH="0" baseline="0" noProof="0" dirty="0">
                <a:ln>
                  <a:noFill/>
                </a:ln>
                <a:solidFill>
                  <a:srgbClr val="FF76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OLICY ENFORCEMENT FIREWALL</a:t>
            </a:r>
          </a:p>
        </p:txBody>
      </p:sp>
      <p:sp>
        <p:nvSpPr>
          <p:cNvPr id="77" name="Rectangle 76">
            <a:extLst>
              <a:ext uri="{FF2B5EF4-FFF2-40B4-BE49-F238E27FC236}">
                <a16:creationId xmlns:a16="http://schemas.microsoft.com/office/drawing/2014/main" id="{5DF20159-E989-074E-B6A5-7734A42BEB92}"/>
              </a:ext>
            </a:extLst>
          </p:cNvPr>
          <p:cNvSpPr/>
          <p:nvPr/>
        </p:nvSpPr>
        <p:spPr>
          <a:xfrm>
            <a:off x="5150252" y="4572986"/>
            <a:ext cx="1998245" cy="307777"/>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400" b="0" i="0" u="none" strike="noStrike" kern="0" cap="none" spc="0" normalizeH="0" baseline="0" noProof="0" dirty="0">
                <a:ln>
                  <a:noFill/>
                </a:ln>
                <a:solidFill>
                  <a:srgbClr val="58595D"/>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BRAMKI</a:t>
            </a:r>
          </a:p>
        </p:txBody>
      </p:sp>
      <p:sp>
        <p:nvSpPr>
          <p:cNvPr id="78" name="Rectangle 77">
            <a:extLst>
              <a:ext uri="{FF2B5EF4-FFF2-40B4-BE49-F238E27FC236}">
                <a16:creationId xmlns:a16="http://schemas.microsoft.com/office/drawing/2014/main" id="{5DF20159-E989-074E-B6A5-7734A42BEB92}"/>
              </a:ext>
            </a:extLst>
          </p:cNvPr>
          <p:cNvSpPr/>
          <p:nvPr/>
        </p:nvSpPr>
        <p:spPr>
          <a:xfrm>
            <a:off x="9022703" y="2555104"/>
            <a:ext cx="1998245" cy="523220"/>
          </a:xfrm>
          <a:prstGeom prst="rect">
            <a:avLst/>
          </a:prstGeom>
        </p:spPr>
        <p:txBody>
          <a:bodyPr wrap="square" anchor="ctr" anchorCtr="1">
            <a:spAutoFit/>
          </a:bodyPr>
          <a:lstStyle/>
          <a:p>
            <a:pPr marL="0" marR="0" lvl="0" indent="0" algn="ctr" defTabSz="1828764" rtl="0" eaLnBrk="1" fontAlgn="auto" latinLnBrk="0" hangingPunct="1">
              <a:lnSpc>
                <a:spcPct val="100000"/>
              </a:lnSpc>
              <a:spcBef>
                <a:spcPts val="800"/>
              </a:spcBef>
              <a:spcAft>
                <a:spcPts val="800"/>
              </a:spcAft>
              <a:buClrTx/>
              <a:buSzTx/>
              <a:buFontTx/>
              <a:buNone/>
              <a:tabLst/>
              <a:defRPr/>
            </a:pPr>
            <a:r>
              <a:rPr kumimoji="0" lang="en-US" sz="1400" b="0" i="0" u="none" strike="noStrike" kern="0" cap="none" spc="0" normalizeH="0" baseline="0" noProof="0" dirty="0">
                <a:ln>
                  <a:noFill/>
                </a:ln>
                <a:solidFill>
                  <a:srgbClr val="FF76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PLIKACJE I ADRESY DOCELOWE</a:t>
            </a:r>
          </a:p>
        </p:txBody>
      </p:sp>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0405" y="3835942"/>
            <a:ext cx="957938" cy="448377"/>
          </a:xfrm>
          <a:prstGeom prst="rect">
            <a:avLst/>
          </a:prstGeom>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0405" y="4061411"/>
            <a:ext cx="957938" cy="448377"/>
          </a:xfrm>
          <a:prstGeom prst="rect">
            <a:avLst/>
          </a:prstGeom>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26944" y="3922714"/>
            <a:ext cx="1005590" cy="417379"/>
          </a:xfrm>
          <a:prstGeom prst="rect">
            <a:avLst/>
          </a:prstGeom>
        </p:spPr>
      </p:pic>
      <p:pic>
        <p:nvPicPr>
          <p:cNvPr id="88" name="Picture 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2024" y="3922714"/>
            <a:ext cx="1005590" cy="417379"/>
          </a:xfrm>
          <a:prstGeom prst="rect">
            <a:avLst/>
          </a:prstGeom>
        </p:spPr>
      </p:pic>
      <p:sp>
        <p:nvSpPr>
          <p:cNvPr id="105" name="Rectangle 104"/>
          <p:cNvSpPr/>
          <p:nvPr/>
        </p:nvSpPr>
        <p:spPr>
          <a:xfrm>
            <a:off x="1392899" y="3644618"/>
            <a:ext cx="1985719" cy="505031"/>
          </a:xfrm>
          <a:prstGeom prst="rect">
            <a:avLst/>
          </a:prstGeom>
          <a:solidFill>
            <a:srgbClr val="0D2A45"/>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06" name="Rectangle 105"/>
          <p:cNvSpPr/>
          <p:nvPr/>
        </p:nvSpPr>
        <p:spPr>
          <a:xfrm>
            <a:off x="1392899" y="4183237"/>
            <a:ext cx="1985719" cy="505031"/>
          </a:xfrm>
          <a:prstGeom prst="rect">
            <a:avLst/>
          </a:prstGeom>
          <a:solidFill>
            <a:srgbClr val="0D2A45"/>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07" name="Rectangle 106"/>
          <p:cNvSpPr/>
          <p:nvPr/>
        </p:nvSpPr>
        <p:spPr>
          <a:xfrm>
            <a:off x="1392899" y="4721856"/>
            <a:ext cx="1985719" cy="505031"/>
          </a:xfrm>
          <a:prstGeom prst="rect">
            <a:avLst/>
          </a:prstGeom>
          <a:solidFill>
            <a:srgbClr val="0D2A45"/>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p:cNvSpPr/>
          <p:nvPr/>
        </p:nvSpPr>
        <p:spPr>
          <a:xfrm>
            <a:off x="1392899" y="3105999"/>
            <a:ext cx="1985719" cy="505031"/>
          </a:xfrm>
          <a:prstGeom prst="rect">
            <a:avLst/>
          </a:prstGeom>
          <a:solidFill>
            <a:srgbClr val="0D2A45"/>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TextBox 11"/>
          <p:cNvSpPr txBox="1"/>
          <p:nvPr/>
        </p:nvSpPr>
        <p:spPr>
          <a:xfrm>
            <a:off x="2301378" y="3278938"/>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Open Sans"/>
                <a:ea typeface="+mn-ea"/>
                <a:cs typeface="+mn-cs"/>
              </a:rPr>
              <a:t>Pracownik</a:t>
            </a: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2" name="TextBox 101"/>
          <p:cNvSpPr txBox="1"/>
          <p:nvPr/>
        </p:nvSpPr>
        <p:spPr>
          <a:xfrm>
            <a:off x="2301378" y="3815423"/>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BYOD</a:t>
            </a:r>
          </a:p>
        </p:txBody>
      </p:sp>
      <p:sp>
        <p:nvSpPr>
          <p:cNvPr id="103" name="TextBox 102"/>
          <p:cNvSpPr txBox="1"/>
          <p:nvPr/>
        </p:nvSpPr>
        <p:spPr>
          <a:xfrm>
            <a:off x="2301378" y="4341952"/>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Open Sans"/>
                <a:ea typeface="+mn-ea"/>
                <a:cs typeface="+mn-cs"/>
              </a:rPr>
              <a:t>IoT</a:t>
            </a: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4" name="TextBox 103"/>
          <p:cNvSpPr txBox="1"/>
          <p:nvPr/>
        </p:nvSpPr>
        <p:spPr>
          <a:xfrm>
            <a:off x="2301378" y="4902091"/>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FFFFFF"/>
                </a:solidFill>
                <a:effectLst/>
                <a:uLnTx/>
                <a:uFillTx/>
                <a:latin typeface="Open Sans"/>
                <a:ea typeface="+mn-ea"/>
                <a:cs typeface="+mn-cs"/>
              </a:rPr>
              <a:t>Gość</a:t>
            </a: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6" name="Group 4"/>
          <p:cNvGrpSpPr>
            <a:grpSpLocks noChangeAspect="1"/>
          </p:cNvGrpSpPr>
          <p:nvPr/>
        </p:nvGrpSpPr>
        <p:grpSpPr bwMode="auto">
          <a:xfrm>
            <a:off x="5947728" y="2627028"/>
            <a:ext cx="403225" cy="596900"/>
            <a:chOff x="3721" y="1989"/>
            <a:chExt cx="254" cy="376"/>
          </a:xfrm>
          <a:solidFill>
            <a:srgbClr val="FF7600"/>
          </a:solidFill>
        </p:grpSpPr>
        <p:sp>
          <p:nvSpPr>
            <p:cNvPr id="18" name="Freeform 5"/>
            <p:cNvSpPr>
              <a:spLocks/>
            </p:cNvSpPr>
            <p:nvPr/>
          </p:nvSpPr>
          <p:spPr bwMode="auto">
            <a:xfrm>
              <a:off x="3750" y="1989"/>
              <a:ext cx="198" cy="143"/>
            </a:xfrm>
            <a:custGeom>
              <a:avLst/>
              <a:gdLst>
                <a:gd name="T0" fmla="*/ 352 w 1603"/>
                <a:gd name="T1" fmla="*/ 831 h 1166"/>
                <a:gd name="T2" fmla="*/ 794 w 1603"/>
                <a:gd name="T3" fmla="*/ 389 h 1166"/>
                <a:gd name="T4" fmla="*/ 1236 w 1603"/>
                <a:gd name="T5" fmla="*/ 831 h 1166"/>
                <a:gd name="T6" fmla="*/ 1236 w 1603"/>
                <a:gd name="T7" fmla="*/ 1166 h 1166"/>
                <a:gd name="T8" fmla="*/ 1590 w 1603"/>
                <a:gd name="T9" fmla="*/ 1166 h 1166"/>
                <a:gd name="T10" fmla="*/ 1590 w 1603"/>
                <a:gd name="T11" fmla="*/ 831 h 1166"/>
                <a:gd name="T12" fmla="*/ 818 w 1603"/>
                <a:gd name="T13" fmla="*/ 13 h 1166"/>
                <a:gd name="T14" fmla="*/ 0 w 1603"/>
                <a:gd name="T15" fmla="*/ 785 h 1166"/>
                <a:gd name="T16" fmla="*/ 0 w 1603"/>
                <a:gd name="T17" fmla="*/ 831 h 1166"/>
                <a:gd name="T18" fmla="*/ 0 w 1603"/>
                <a:gd name="T19" fmla="*/ 1166 h 1166"/>
                <a:gd name="T20" fmla="*/ 355 w 1603"/>
                <a:gd name="T21" fmla="*/ 1166 h 1166"/>
                <a:gd name="T22" fmla="*/ 352 w 1603"/>
                <a:gd name="T23" fmla="*/ 831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3" h="1166">
                  <a:moveTo>
                    <a:pt x="352" y="831"/>
                  </a:moveTo>
                  <a:cubicBezTo>
                    <a:pt x="352" y="587"/>
                    <a:pt x="550" y="389"/>
                    <a:pt x="794" y="389"/>
                  </a:cubicBezTo>
                  <a:cubicBezTo>
                    <a:pt x="1038" y="389"/>
                    <a:pt x="1236" y="587"/>
                    <a:pt x="1236" y="831"/>
                  </a:cubicBezTo>
                  <a:cubicBezTo>
                    <a:pt x="1236" y="1166"/>
                    <a:pt x="1236" y="1166"/>
                    <a:pt x="1236" y="1166"/>
                  </a:cubicBezTo>
                  <a:cubicBezTo>
                    <a:pt x="1590" y="1166"/>
                    <a:pt x="1590" y="1166"/>
                    <a:pt x="1590" y="1166"/>
                  </a:cubicBezTo>
                  <a:cubicBezTo>
                    <a:pt x="1590" y="831"/>
                    <a:pt x="1590" y="831"/>
                    <a:pt x="1590" y="831"/>
                  </a:cubicBezTo>
                  <a:cubicBezTo>
                    <a:pt x="1603" y="392"/>
                    <a:pt x="1257" y="26"/>
                    <a:pt x="818" y="13"/>
                  </a:cubicBezTo>
                  <a:cubicBezTo>
                    <a:pt x="379" y="0"/>
                    <a:pt x="13" y="346"/>
                    <a:pt x="0" y="785"/>
                  </a:cubicBezTo>
                  <a:cubicBezTo>
                    <a:pt x="0" y="800"/>
                    <a:pt x="0" y="815"/>
                    <a:pt x="0" y="831"/>
                  </a:cubicBezTo>
                  <a:cubicBezTo>
                    <a:pt x="0" y="1166"/>
                    <a:pt x="0" y="1166"/>
                    <a:pt x="0" y="1166"/>
                  </a:cubicBezTo>
                  <a:cubicBezTo>
                    <a:pt x="355" y="1166"/>
                    <a:pt x="355" y="1166"/>
                    <a:pt x="355" y="1166"/>
                  </a:cubicBezTo>
                  <a:lnTo>
                    <a:pt x="352" y="8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6"/>
            <p:cNvSpPr>
              <a:spLocks noEditPoints="1"/>
            </p:cNvSpPr>
            <p:nvPr/>
          </p:nvSpPr>
          <p:spPr bwMode="auto">
            <a:xfrm>
              <a:off x="3721" y="2148"/>
              <a:ext cx="254" cy="217"/>
            </a:xfrm>
            <a:custGeom>
              <a:avLst/>
              <a:gdLst>
                <a:gd name="T0" fmla="*/ 1026 w 2058"/>
                <a:gd name="T1" fmla="*/ 0 h 1767"/>
                <a:gd name="T2" fmla="*/ 0 w 2058"/>
                <a:gd name="T3" fmla="*/ 0 h 1767"/>
                <a:gd name="T4" fmla="*/ 0 w 2058"/>
                <a:gd name="T5" fmla="*/ 1767 h 1767"/>
                <a:gd name="T6" fmla="*/ 2058 w 2058"/>
                <a:gd name="T7" fmla="*/ 1767 h 1767"/>
                <a:gd name="T8" fmla="*/ 2058 w 2058"/>
                <a:gd name="T9" fmla="*/ 0 h 1767"/>
                <a:gd name="T10" fmla="*/ 1026 w 2058"/>
                <a:gd name="T11" fmla="*/ 0 h 1767"/>
                <a:gd name="T12" fmla="*/ 1048 w 2058"/>
                <a:gd name="T13" fmla="*/ 1478 h 1767"/>
                <a:gd name="T14" fmla="*/ 402 w 2058"/>
                <a:gd name="T15" fmla="*/ 832 h 1767"/>
                <a:gd name="T16" fmla="*/ 1048 w 2058"/>
                <a:gd name="T17" fmla="*/ 186 h 1767"/>
                <a:gd name="T18" fmla="*/ 1694 w 2058"/>
                <a:gd name="T19" fmla="*/ 832 h 1767"/>
                <a:gd name="T20" fmla="*/ 1048 w 2058"/>
                <a:gd name="T21" fmla="*/ 1479 h 1767"/>
                <a:gd name="T22" fmla="*/ 1048 w 2058"/>
                <a:gd name="T23" fmla="*/ 1479 h 1767"/>
                <a:gd name="T24" fmla="*/ 1048 w 2058"/>
                <a:gd name="T25" fmla="*/ 1478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8" h="1767">
                  <a:moveTo>
                    <a:pt x="1026" y="0"/>
                  </a:moveTo>
                  <a:cubicBezTo>
                    <a:pt x="0" y="0"/>
                    <a:pt x="0" y="0"/>
                    <a:pt x="0" y="0"/>
                  </a:cubicBezTo>
                  <a:cubicBezTo>
                    <a:pt x="0" y="1767"/>
                    <a:pt x="0" y="1767"/>
                    <a:pt x="0" y="1767"/>
                  </a:cubicBezTo>
                  <a:cubicBezTo>
                    <a:pt x="2058" y="1767"/>
                    <a:pt x="2058" y="1767"/>
                    <a:pt x="2058" y="1767"/>
                  </a:cubicBezTo>
                  <a:cubicBezTo>
                    <a:pt x="2058" y="0"/>
                    <a:pt x="2058" y="0"/>
                    <a:pt x="2058" y="0"/>
                  </a:cubicBezTo>
                  <a:lnTo>
                    <a:pt x="1026" y="0"/>
                  </a:lnTo>
                  <a:close/>
                  <a:moveTo>
                    <a:pt x="1048" y="1478"/>
                  </a:moveTo>
                  <a:cubicBezTo>
                    <a:pt x="691" y="1478"/>
                    <a:pt x="402" y="1189"/>
                    <a:pt x="402" y="832"/>
                  </a:cubicBezTo>
                  <a:cubicBezTo>
                    <a:pt x="402" y="476"/>
                    <a:pt x="691" y="186"/>
                    <a:pt x="1048" y="186"/>
                  </a:cubicBezTo>
                  <a:cubicBezTo>
                    <a:pt x="1404" y="186"/>
                    <a:pt x="1694" y="476"/>
                    <a:pt x="1694" y="832"/>
                  </a:cubicBezTo>
                  <a:cubicBezTo>
                    <a:pt x="1694" y="1189"/>
                    <a:pt x="1405" y="1479"/>
                    <a:pt x="1048" y="1479"/>
                  </a:cubicBezTo>
                  <a:cubicBezTo>
                    <a:pt x="1048" y="1479"/>
                    <a:pt x="1048" y="1479"/>
                    <a:pt x="1048" y="1479"/>
                  </a:cubicBezTo>
                  <a:lnTo>
                    <a:pt x="1048"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Freeform 7"/>
            <p:cNvSpPr>
              <a:spLocks/>
            </p:cNvSpPr>
            <p:nvPr/>
          </p:nvSpPr>
          <p:spPr bwMode="auto">
            <a:xfrm>
              <a:off x="3793" y="2202"/>
              <a:ext cx="115" cy="97"/>
            </a:xfrm>
            <a:custGeom>
              <a:avLst/>
              <a:gdLst>
                <a:gd name="T0" fmla="*/ 39 w 115"/>
                <a:gd name="T1" fmla="*/ 55 h 97"/>
                <a:gd name="T2" fmla="*/ 21 w 115"/>
                <a:gd name="T3" fmla="*/ 37 h 97"/>
                <a:gd name="T4" fmla="*/ 0 w 115"/>
                <a:gd name="T5" fmla="*/ 58 h 97"/>
                <a:gd name="T6" fmla="*/ 39 w 115"/>
                <a:gd name="T7" fmla="*/ 97 h 97"/>
                <a:gd name="T8" fmla="*/ 115 w 115"/>
                <a:gd name="T9" fmla="*/ 21 h 97"/>
                <a:gd name="T10" fmla="*/ 94 w 115"/>
                <a:gd name="T11" fmla="*/ 0 h 97"/>
                <a:gd name="T12" fmla="*/ 39 w 115"/>
                <a:gd name="T13" fmla="*/ 55 h 97"/>
              </a:gdLst>
              <a:ahLst/>
              <a:cxnLst>
                <a:cxn ang="0">
                  <a:pos x="T0" y="T1"/>
                </a:cxn>
                <a:cxn ang="0">
                  <a:pos x="T2" y="T3"/>
                </a:cxn>
                <a:cxn ang="0">
                  <a:pos x="T4" y="T5"/>
                </a:cxn>
                <a:cxn ang="0">
                  <a:pos x="T6" y="T7"/>
                </a:cxn>
                <a:cxn ang="0">
                  <a:pos x="T8" y="T9"/>
                </a:cxn>
                <a:cxn ang="0">
                  <a:pos x="T10" y="T11"/>
                </a:cxn>
                <a:cxn ang="0">
                  <a:pos x="T12" y="T13"/>
                </a:cxn>
              </a:cxnLst>
              <a:rect l="0" t="0" r="r" b="b"/>
              <a:pathLst>
                <a:path w="115" h="97">
                  <a:moveTo>
                    <a:pt x="39" y="55"/>
                  </a:moveTo>
                  <a:lnTo>
                    <a:pt x="21" y="37"/>
                  </a:lnTo>
                  <a:lnTo>
                    <a:pt x="0" y="58"/>
                  </a:lnTo>
                  <a:lnTo>
                    <a:pt x="39" y="97"/>
                  </a:lnTo>
                  <a:lnTo>
                    <a:pt x="115" y="21"/>
                  </a:lnTo>
                  <a:lnTo>
                    <a:pt x="94" y="0"/>
                  </a:lnTo>
                  <a:lnTo>
                    <a:pt x="39"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38" name="TextBox 137"/>
          <p:cNvSpPr txBox="1"/>
          <p:nvPr/>
        </p:nvSpPr>
        <p:spPr>
          <a:xfrm>
            <a:off x="9222290" y="3278938"/>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Office 365</a:t>
            </a:r>
          </a:p>
        </p:txBody>
      </p:sp>
      <p:sp>
        <p:nvSpPr>
          <p:cNvPr id="139" name="TextBox 138"/>
          <p:cNvSpPr txBox="1"/>
          <p:nvPr/>
        </p:nvSpPr>
        <p:spPr>
          <a:xfrm>
            <a:off x="9222290" y="3740750"/>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Academic records</a:t>
            </a:r>
          </a:p>
        </p:txBody>
      </p:sp>
      <p:sp>
        <p:nvSpPr>
          <p:cNvPr id="140" name="TextBox 139"/>
          <p:cNvSpPr txBox="1"/>
          <p:nvPr/>
        </p:nvSpPr>
        <p:spPr>
          <a:xfrm>
            <a:off x="9095743" y="4283872"/>
            <a:ext cx="1205072" cy="175688"/>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n0tma1war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biz</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41" name="TextBox 140"/>
          <p:cNvSpPr txBox="1"/>
          <p:nvPr/>
        </p:nvSpPr>
        <p:spPr>
          <a:xfrm>
            <a:off x="9222290" y="4883389"/>
            <a:ext cx="951979" cy="18196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FFFFFF"/>
                </a:solidFill>
                <a:effectLst/>
                <a:uLnTx/>
                <a:uFillTx/>
                <a:latin typeface="Open Sans"/>
                <a:ea typeface="+mn-ea"/>
                <a:cs typeface="+mn-cs"/>
              </a:rPr>
              <a:t>AirGroup</a:t>
            </a: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142" name="office365.png" descr="office365.png">
            <a:extLst>
              <a:ext uri="{FF2B5EF4-FFF2-40B4-BE49-F238E27FC236}">
                <a16:creationId xmlns:a16="http://schemas.microsoft.com/office/drawing/2014/main" id="{5DDEA0BC-FB2E-EF4A-90F6-D68B68D13B3D}"/>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0436780" y="3163137"/>
            <a:ext cx="371388" cy="406605"/>
          </a:xfrm>
          <a:prstGeom prst="rect">
            <a:avLst/>
          </a:prstGeom>
          <a:ln w="3175">
            <a:miter lim="400000"/>
          </a:ln>
        </p:spPr>
      </p:pic>
      <p:pic>
        <p:nvPicPr>
          <p:cNvPr id="33" name="Picture 32"/>
          <p:cNvPicPr>
            <a:picLocks noChangeAspect="1"/>
          </p:cNvPicPr>
          <p:nvPr/>
        </p:nvPicPr>
        <p:blipFill>
          <a:blip r:embed="rId6"/>
          <a:stretch>
            <a:fillRect/>
          </a:stretch>
        </p:blipFill>
        <p:spPr>
          <a:xfrm>
            <a:off x="10355852" y="4815808"/>
            <a:ext cx="506012" cy="268247"/>
          </a:xfrm>
          <a:prstGeom prst="rect">
            <a:avLst/>
          </a:prstGeom>
        </p:spPr>
      </p:pic>
      <p:pic>
        <p:nvPicPr>
          <p:cNvPr id="34" name="Picture 33"/>
          <p:cNvPicPr>
            <a:picLocks noChangeAspect="1"/>
          </p:cNvPicPr>
          <p:nvPr/>
        </p:nvPicPr>
        <p:blipFill>
          <a:blip r:embed="rId7"/>
          <a:stretch>
            <a:fillRect/>
          </a:stretch>
        </p:blipFill>
        <p:spPr>
          <a:xfrm>
            <a:off x="10471756" y="4276934"/>
            <a:ext cx="327494" cy="323641"/>
          </a:xfrm>
          <a:prstGeom prst="rect">
            <a:avLst/>
          </a:prstGeom>
        </p:spPr>
      </p:pic>
      <p:grpSp>
        <p:nvGrpSpPr>
          <p:cNvPr id="2048" name="Group 2047"/>
          <p:cNvGrpSpPr/>
          <p:nvPr/>
        </p:nvGrpSpPr>
        <p:grpSpPr>
          <a:xfrm>
            <a:off x="10491638" y="3758798"/>
            <a:ext cx="261671" cy="295213"/>
            <a:chOff x="10402930" y="4453482"/>
            <a:chExt cx="390108" cy="401273"/>
          </a:xfrm>
        </p:grpSpPr>
        <p:sp>
          <p:nvSpPr>
            <p:cNvPr id="153" name="Freeform 152"/>
            <p:cNvSpPr/>
            <p:nvPr/>
          </p:nvSpPr>
          <p:spPr>
            <a:xfrm rot="10800000">
              <a:off x="10402930" y="4453482"/>
              <a:ext cx="390108" cy="401273"/>
            </a:xfrm>
            <a:custGeom>
              <a:avLst/>
              <a:gdLst>
                <a:gd name="connsiteX0" fmla="*/ 195054 w 390108"/>
                <a:gd name="connsiteY0" fmla="*/ 0 h 401273"/>
                <a:gd name="connsiteX1" fmla="*/ 390108 w 390108"/>
                <a:gd name="connsiteY1" fmla="*/ 51885 h 401273"/>
                <a:gd name="connsiteX2" fmla="*/ 382649 w 390108"/>
                <a:gd name="connsiteY2" fmla="*/ 61713 h 401273"/>
                <a:gd name="connsiteX3" fmla="*/ 390108 w 390108"/>
                <a:gd name="connsiteY3" fmla="*/ 61713 h 401273"/>
                <a:gd name="connsiteX4" fmla="*/ 390108 w 390108"/>
                <a:gd name="connsiteY4" fmla="*/ 337588 h 401273"/>
                <a:gd name="connsiteX5" fmla="*/ 384577 w 390108"/>
                <a:gd name="connsiteY5" fmla="*/ 337588 h 401273"/>
                <a:gd name="connsiteX6" fmla="*/ 386145 w 390108"/>
                <a:gd name="connsiteY6" fmla="*/ 338932 h 401273"/>
                <a:gd name="connsiteX7" fmla="*/ 390108 w 390108"/>
                <a:gd name="connsiteY7" fmla="*/ 349388 h 401273"/>
                <a:gd name="connsiteX8" fmla="*/ 195054 w 390108"/>
                <a:gd name="connsiteY8" fmla="*/ 401273 h 401273"/>
                <a:gd name="connsiteX9" fmla="*/ 0 w 390108"/>
                <a:gd name="connsiteY9" fmla="*/ 349388 h 401273"/>
                <a:gd name="connsiteX10" fmla="*/ 3963 w 390108"/>
                <a:gd name="connsiteY10" fmla="*/ 338932 h 401273"/>
                <a:gd name="connsiteX11" fmla="*/ 5531 w 390108"/>
                <a:gd name="connsiteY11" fmla="*/ 337588 h 401273"/>
                <a:gd name="connsiteX12" fmla="*/ 0 w 390108"/>
                <a:gd name="connsiteY12" fmla="*/ 337588 h 401273"/>
                <a:gd name="connsiteX13" fmla="*/ 0 w 390108"/>
                <a:gd name="connsiteY13" fmla="*/ 61713 h 401273"/>
                <a:gd name="connsiteX14" fmla="*/ 7459 w 390108"/>
                <a:gd name="connsiteY14" fmla="*/ 61713 h 401273"/>
                <a:gd name="connsiteX15" fmla="*/ 0 w 390108"/>
                <a:gd name="connsiteY15" fmla="*/ 51885 h 401273"/>
                <a:gd name="connsiteX16" fmla="*/ 195054 w 390108"/>
                <a:gd name="connsiteY16" fmla="*/ 0 h 401273"/>
                <a:gd name="connsiteX0" fmla="*/ 195054 w 390108"/>
                <a:gd name="connsiteY0" fmla="*/ 0 h 401273"/>
                <a:gd name="connsiteX1" fmla="*/ 390108 w 390108"/>
                <a:gd name="connsiteY1" fmla="*/ 51885 h 401273"/>
                <a:gd name="connsiteX2" fmla="*/ 382649 w 390108"/>
                <a:gd name="connsiteY2" fmla="*/ 61713 h 401273"/>
                <a:gd name="connsiteX3" fmla="*/ 390108 w 390108"/>
                <a:gd name="connsiteY3" fmla="*/ 61713 h 401273"/>
                <a:gd name="connsiteX4" fmla="*/ 390108 w 390108"/>
                <a:gd name="connsiteY4" fmla="*/ 337588 h 401273"/>
                <a:gd name="connsiteX5" fmla="*/ 384577 w 390108"/>
                <a:gd name="connsiteY5" fmla="*/ 337588 h 401273"/>
                <a:gd name="connsiteX6" fmla="*/ 386145 w 390108"/>
                <a:gd name="connsiteY6" fmla="*/ 338932 h 401273"/>
                <a:gd name="connsiteX7" fmla="*/ 390108 w 390108"/>
                <a:gd name="connsiteY7" fmla="*/ 349388 h 401273"/>
                <a:gd name="connsiteX8" fmla="*/ 195054 w 390108"/>
                <a:gd name="connsiteY8" fmla="*/ 401273 h 401273"/>
                <a:gd name="connsiteX9" fmla="*/ 0 w 390108"/>
                <a:gd name="connsiteY9" fmla="*/ 349388 h 401273"/>
                <a:gd name="connsiteX10" fmla="*/ 3963 w 390108"/>
                <a:gd name="connsiteY10" fmla="*/ 338932 h 401273"/>
                <a:gd name="connsiteX11" fmla="*/ 5531 w 390108"/>
                <a:gd name="connsiteY11" fmla="*/ 337588 h 401273"/>
                <a:gd name="connsiteX12" fmla="*/ 0 w 390108"/>
                <a:gd name="connsiteY12" fmla="*/ 337588 h 401273"/>
                <a:gd name="connsiteX13" fmla="*/ 0 w 390108"/>
                <a:gd name="connsiteY13" fmla="*/ 61713 h 401273"/>
                <a:gd name="connsiteX14" fmla="*/ 0 w 390108"/>
                <a:gd name="connsiteY14" fmla="*/ 51885 h 401273"/>
                <a:gd name="connsiteX15" fmla="*/ 195054 w 390108"/>
                <a:gd name="connsiteY15" fmla="*/ 0 h 401273"/>
                <a:gd name="connsiteX0" fmla="*/ 195054 w 390108"/>
                <a:gd name="connsiteY0" fmla="*/ 0 h 401273"/>
                <a:gd name="connsiteX1" fmla="*/ 390108 w 390108"/>
                <a:gd name="connsiteY1" fmla="*/ 51885 h 401273"/>
                <a:gd name="connsiteX2" fmla="*/ 382649 w 390108"/>
                <a:gd name="connsiteY2" fmla="*/ 61713 h 401273"/>
                <a:gd name="connsiteX3" fmla="*/ 390108 w 390108"/>
                <a:gd name="connsiteY3" fmla="*/ 61713 h 401273"/>
                <a:gd name="connsiteX4" fmla="*/ 390108 w 390108"/>
                <a:gd name="connsiteY4" fmla="*/ 337588 h 401273"/>
                <a:gd name="connsiteX5" fmla="*/ 384577 w 390108"/>
                <a:gd name="connsiteY5" fmla="*/ 337588 h 401273"/>
                <a:gd name="connsiteX6" fmla="*/ 386145 w 390108"/>
                <a:gd name="connsiteY6" fmla="*/ 338932 h 401273"/>
                <a:gd name="connsiteX7" fmla="*/ 390108 w 390108"/>
                <a:gd name="connsiteY7" fmla="*/ 349388 h 401273"/>
                <a:gd name="connsiteX8" fmla="*/ 195054 w 390108"/>
                <a:gd name="connsiteY8" fmla="*/ 401273 h 401273"/>
                <a:gd name="connsiteX9" fmla="*/ 0 w 390108"/>
                <a:gd name="connsiteY9" fmla="*/ 349388 h 401273"/>
                <a:gd name="connsiteX10" fmla="*/ 3963 w 390108"/>
                <a:gd name="connsiteY10" fmla="*/ 338932 h 401273"/>
                <a:gd name="connsiteX11" fmla="*/ 0 w 390108"/>
                <a:gd name="connsiteY11" fmla="*/ 337588 h 401273"/>
                <a:gd name="connsiteX12" fmla="*/ 0 w 390108"/>
                <a:gd name="connsiteY12" fmla="*/ 61713 h 401273"/>
                <a:gd name="connsiteX13" fmla="*/ 0 w 390108"/>
                <a:gd name="connsiteY13" fmla="*/ 51885 h 401273"/>
                <a:gd name="connsiteX14" fmla="*/ 195054 w 390108"/>
                <a:gd name="connsiteY14" fmla="*/ 0 h 401273"/>
                <a:gd name="connsiteX0" fmla="*/ 195054 w 390108"/>
                <a:gd name="connsiteY0" fmla="*/ 0 h 401273"/>
                <a:gd name="connsiteX1" fmla="*/ 390108 w 390108"/>
                <a:gd name="connsiteY1" fmla="*/ 51885 h 401273"/>
                <a:gd name="connsiteX2" fmla="*/ 382649 w 390108"/>
                <a:gd name="connsiteY2" fmla="*/ 61713 h 401273"/>
                <a:gd name="connsiteX3" fmla="*/ 390108 w 390108"/>
                <a:gd name="connsiteY3" fmla="*/ 61713 h 401273"/>
                <a:gd name="connsiteX4" fmla="*/ 390108 w 390108"/>
                <a:gd name="connsiteY4" fmla="*/ 337588 h 401273"/>
                <a:gd name="connsiteX5" fmla="*/ 384577 w 390108"/>
                <a:gd name="connsiteY5" fmla="*/ 337588 h 401273"/>
                <a:gd name="connsiteX6" fmla="*/ 390108 w 390108"/>
                <a:gd name="connsiteY6" fmla="*/ 349388 h 401273"/>
                <a:gd name="connsiteX7" fmla="*/ 195054 w 390108"/>
                <a:gd name="connsiteY7" fmla="*/ 401273 h 401273"/>
                <a:gd name="connsiteX8" fmla="*/ 0 w 390108"/>
                <a:gd name="connsiteY8" fmla="*/ 349388 h 401273"/>
                <a:gd name="connsiteX9" fmla="*/ 3963 w 390108"/>
                <a:gd name="connsiteY9" fmla="*/ 338932 h 401273"/>
                <a:gd name="connsiteX10" fmla="*/ 0 w 390108"/>
                <a:gd name="connsiteY10" fmla="*/ 337588 h 401273"/>
                <a:gd name="connsiteX11" fmla="*/ 0 w 390108"/>
                <a:gd name="connsiteY11" fmla="*/ 61713 h 401273"/>
                <a:gd name="connsiteX12" fmla="*/ 0 w 390108"/>
                <a:gd name="connsiteY12" fmla="*/ 51885 h 401273"/>
                <a:gd name="connsiteX13" fmla="*/ 195054 w 390108"/>
                <a:gd name="connsiteY13" fmla="*/ 0 h 401273"/>
                <a:gd name="connsiteX0" fmla="*/ 195054 w 390108"/>
                <a:gd name="connsiteY0" fmla="*/ 0 h 401273"/>
                <a:gd name="connsiteX1" fmla="*/ 390108 w 390108"/>
                <a:gd name="connsiteY1" fmla="*/ 51885 h 401273"/>
                <a:gd name="connsiteX2" fmla="*/ 390108 w 390108"/>
                <a:gd name="connsiteY2" fmla="*/ 61713 h 401273"/>
                <a:gd name="connsiteX3" fmla="*/ 390108 w 390108"/>
                <a:gd name="connsiteY3" fmla="*/ 337588 h 401273"/>
                <a:gd name="connsiteX4" fmla="*/ 384577 w 390108"/>
                <a:gd name="connsiteY4" fmla="*/ 337588 h 401273"/>
                <a:gd name="connsiteX5" fmla="*/ 390108 w 390108"/>
                <a:gd name="connsiteY5" fmla="*/ 349388 h 401273"/>
                <a:gd name="connsiteX6" fmla="*/ 195054 w 390108"/>
                <a:gd name="connsiteY6" fmla="*/ 401273 h 401273"/>
                <a:gd name="connsiteX7" fmla="*/ 0 w 390108"/>
                <a:gd name="connsiteY7" fmla="*/ 349388 h 401273"/>
                <a:gd name="connsiteX8" fmla="*/ 3963 w 390108"/>
                <a:gd name="connsiteY8" fmla="*/ 338932 h 401273"/>
                <a:gd name="connsiteX9" fmla="*/ 0 w 390108"/>
                <a:gd name="connsiteY9" fmla="*/ 337588 h 401273"/>
                <a:gd name="connsiteX10" fmla="*/ 0 w 390108"/>
                <a:gd name="connsiteY10" fmla="*/ 61713 h 401273"/>
                <a:gd name="connsiteX11" fmla="*/ 0 w 390108"/>
                <a:gd name="connsiteY11" fmla="*/ 51885 h 401273"/>
                <a:gd name="connsiteX12" fmla="*/ 195054 w 390108"/>
                <a:gd name="connsiteY12" fmla="*/ 0 h 40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108" h="401273">
                  <a:moveTo>
                    <a:pt x="195054" y="0"/>
                  </a:moveTo>
                  <a:cubicBezTo>
                    <a:pt x="302779" y="0"/>
                    <a:pt x="390108" y="23230"/>
                    <a:pt x="390108" y="51885"/>
                  </a:cubicBezTo>
                  <a:lnTo>
                    <a:pt x="390108" y="61713"/>
                  </a:lnTo>
                  <a:lnTo>
                    <a:pt x="390108" y="337588"/>
                  </a:lnTo>
                  <a:lnTo>
                    <a:pt x="384577" y="337588"/>
                  </a:lnTo>
                  <a:lnTo>
                    <a:pt x="390108" y="349388"/>
                  </a:lnTo>
                  <a:cubicBezTo>
                    <a:pt x="390108" y="378043"/>
                    <a:pt x="302779" y="401273"/>
                    <a:pt x="195054" y="401273"/>
                  </a:cubicBezTo>
                  <a:cubicBezTo>
                    <a:pt x="87329" y="401273"/>
                    <a:pt x="0" y="378043"/>
                    <a:pt x="0" y="349388"/>
                  </a:cubicBezTo>
                  <a:cubicBezTo>
                    <a:pt x="0" y="345806"/>
                    <a:pt x="1365" y="342309"/>
                    <a:pt x="3963" y="338932"/>
                  </a:cubicBezTo>
                  <a:lnTo>
                    <a:pt x="0" y="337588"/>
                  </a:lnTo>
                  <a:lnTo>
                    <a:pt x="0" y="61713"/>
                  </a:lnTo>
                  <a:lnTo>
                    <a:pt x="0" y="51885"/>
                  </a:lnTo>
                  <a:cubicBezTo>
                    <a:pt x="0" y="23230"/>
                    <a:pt x="87329" y="0"/>
                    <a:pt x="195054" y="0"/>
                  </a:cubicBezTo>
                  <a:close/>
                </a:path>
              </a:pathLst>
            </a:custGeom>
            <a:solidFill>
              <a:srgbClr val="FF5440"/>
            </a:solidFill>
            <a:ln w="19050">
              <a:solidFill>
                <a:schemeClr val="bg1"/>
              </a:solidFill>
              <a:round/>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47" name="Arc 146"/>
            <p:cNvSpPr/>
            <p:nvPr/>
          </p:nvSpPr>
          <p:spPr>
            <a:xfrm flipV="1">
              <a:off x="10402930" y="4454529"/>
              <a:ext cx="390108" cy="103769"/>
            </a:xfrm>
            <a:prstGeom prst="arc">
              <a:avLst>
                <a:gd name="adj1" fmla="val 10784415"/>
                <a:gd name="adj2" fmla="val 0"/>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54" name="Arc 153"/>
            <p:cNvSpPr/>
            <p:nvPr/>
          </p:nvSpPr>
          <p:spPr>
            <a:xfrm flipV="1">
              <a:off x="10402930" y="4549779"/>
              <a:ext cx="390108" cy="103769"/>
            </a:xfrm>
            <a:prstGeom prst="arc">
              <a:avLst>
                <a:gd name="adj1" fmla="val 10784415"/>
                <a:gd name="adj2" fmla="val 0"/>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55" name="Arc 154"/>
            <p:cNvSpPr/>
            <p:nvPr/>
          </p:nvSpPr>
          <p:spPr>
            <a:xfrm flipV="1">
              <a:off x="10402930" y="4652172"/>
              <a:ext cx="390108" cy="103769"/>
            </a:xfrm>
            <a:prstGeom prst="arc">
              <a:avLst>
                <a:gd name="adj1" fmla="val 10784415"/>
                <a:gd name="adj2" fmla="val 0"/>
              </a:avLst>
            </a:prstGeom>
            <a:no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050" name="Freeform 2049"/>
          <p:cNvSpPr/>
          <p:nvPr/>
        </p:nvSpPr>
        <p:spPr>
          <a:xfrm>
            <a:off x="4136779" y="3664527"/>
            <a:ext cx="1408922" cy="460233"/>
          </a:xfrm>
          <a:custGeom>
            <a:avLst/>
            <a:gdLst>
              <a:gd name="connsiteX0" fmla="*/ 1408922 w 1408922"/>
              <a:gd name="connsiteY0" fmla="*/ 354563 h 354563"/>
              <a:gd name="connsiteX1" fmla="*/ 354563 w 1408922"/>
              <a:gd name="connsiteY1" fmla="*/ 354563 h 354563"/>
              <a:gd name="connsiteX2" fmla="*/ 0 w 1408922"/>
              <a:gd name="connsiteY2" fmla="*/ 0 h 354563"/>
            </a:gdLst>
            <a:ahLst/>
            <a:cxnLst>
              <a:cxn ang="0">
                <a:pos x="connsiteX0" y="connsiteY0"/>
              </a:cxn>
              <a:cxn ang="0">
                <a:pos x="connsiteX1" y="connsiteY1"/>
              </a:cxn>
              <a:cxn ang="0">
                <a:pos x="connsiteX2" y="connsiteY2"/>
              </a:cxn>
            </a:cxnLst>
            <a:rect l="l" t="t" r="r" b="b"/>
            <a:pathLst>
              <a:path w="1408922" h="354563">
                <a:moveTo>
                  <a:pt x="1408922" y="354563"/>
                </a:moveTo>
                <a:lnTo>
                  <a:pt x="354563" y="354563"/>
                </a:lnTo>
                <a:lnTo>
                  <a:pt x="0" y="0"/>
                </a:lnTo>
              </a:path>
            </a:pathLst>
          </a:custGeom>
          <a:noFill/>
          <a:ln w="76200">
            <a:solidFill>
              <a:srgbClr val="A2DCE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2" name="Freeform 161"/>
          <p:cNvSpPr/>
          <p:nvPr/>
        </p:nvSpPr>
        <p:spPr>
          <a:xfrm flipV="1">
            <a:off x="4259010" y="4242760"/>
            <a:ext cx="1286691" cy="259547"/>
          </a:xfrm>
          <a:custGeom>
            <a:avLst/>
            <a:gdLst>
              <a:gd name="connsiteX0" fmla="*/ 1408922 w 1408922"/>
              <a:gd name="connsiteY0" fmla="*/ 354563 h 354563"/>
              <a:gd name="connsiteX1" fmla="*/ 354563 w 1408922"/>
              <a:gd name="connsiteY1" fmla="*/ 354563 h 354563"/>
              <a:gd name="connsiteX2" fmla="*/ 0 w 1408922"/>
              <a:gd name="connsiteY2" fmla="*/ 0 h 354563"/>
              <a:gd name="connsiteX0" fmla="*/ 1240971 w 1240971"/>
              <a:gd name="connsiteY0" fmla="*/ 167667 h 167667"/>
              <a:gd name="connsiteX1" fmla="*/ 186612 w 1240971"/>
              <a:gd name="connsiteY1" fmla="*/ 167667 h 167667"/>
              <a:gd name="connsiteX2" fmla="*/ 0 w 1240971"/>
              <a:gd name="connsiteY2" fmla="*/ 0 h 167667"/>
              <a:gd name="connsiteX0" fmla="*/ 1286691 w 1286691"/>
              <a:gd name="connsiteY0" fmla="*/ 199954 h 199954"/>
              <a:gd name="connsiteX1" fmla="*/ 232332 w 1286691"/>
              <a:gd name="connsiteY1" fmla="*/ 199954 h 199954"/>
              <a:gd name="connsiteX2" fmla="*/ 0 w 1286691"/>
              <a:gd name="connsiteY2" fmla="*/ 0 h 199954"/>
            </a:gdLst>
            <a:ahLst/>
            <a:cxnLst>
              <a:cxn ang="0">
                <a:pos x="connsiteX0" y="connsiteY0"/>
              </a:cxn>
              <a:cxn ang="0">
                <a:pos x="connsiteX1" y="connsiteY1"/>
              </a:cxn>
              <a:cxn ang="0">
                <a:pos x="connsiteX2" y="connsiteY2"/>
              </a:cxn>
            </a:cxnLst>
            <a:rect l="l" t="t" r="r" b="b"/>
            <a:pathLst>
              <a:path w="1286691" h="199954">
                <a:moveTo>
                  <a:pt x="1286691" y="199954"/>
                </a:moveTo>
                <a:lnTo>
                  <a:pt x="232332" y="199954"/>
                </a:lnTo>
                <a:lnTo>
                  <a:pt x="0" y="0"/>
                </a:lnTo>
              </a:path>
            </a:pathLst>
          </a:custGeom>
          <a:noFill/>
          <a:ln w="76200">
            <a:solidFill>
              <a:srgbClr val="00A98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051" name="Rectangle 2050"/>
          <p:cNvSpPr/>
          <p:nvPr/>
        </p:nvSpPr>
        <p:spPr>
          <a:xfrm>
            <a:off x="4085814" y="3634332"/>
            <a:ext cx="137312"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pic>
        <p:nvPicPr>
          <p:cNvPr id="83" name="Picture 82"/>
          <p:cNvPicPr>
            <a:picLocks noChangeAspect="1"/>
          </p:cNvPicPr>
          <p:nvPr/>
        </p:nvPicPr>
        <p:blipFill rotWithShape="1">
          <a:blip r:embed="rId8" cstate="print">
            <a:extLst>
              <a:ext uri="{28A0092B-C50C-407E-A947-70E740481C1C}">
                <a14:useLocalDpi xmlns:a14="http://schemas.microsoft.com/office/drawing/2010/main" val="0"/>
              </a:ext>
            </a:extLst>
          </a:blip>
          <a:srcRect t="19831" b="21423"/>
          <a:stretch/>
        </p:blipFill>
        <p:spPr>
          <a:xfrm flipH="1">
            <a:off x="3854609" y="3479899"/>
            <a:ext cx="737034" cy="218138"/>
          </a:xfrm>
          <a:prstGeom prst="rect">
            <a:avLst/>
          </a:prstGeom>
        </p:spPr>
      </p:pic>
      <p:sp>
        <p:nvSpPr>
          <p:cNvPr id="2052" name="Rectangle 2051"/>
          <p:cNvSpPr/>
          <p:nvPr/>
        </p:nvSpPr>
        <p:spPr>
          <a:xfrm>
            <a:off x="4223126" y="4484276"/>
            <a:ext cx="110813" cy="835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886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Open Sans"/>
              <a:ea typeface="+mn-ea"/>
              <a:cs typeface="+mn-cs"/>
            </a:endParaRPr>
          </a:p>
        </p:txBody>
      </p:sp>
      <p:pic>
        <p:nvPicPr>
          <p:cNvPr id="82" name="Picture 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46711" y="4476996"/>
            <a:ext cx="447251" cy="448124"/>
          </a:xfrm>
          <a:prstGeom prst="rect">
            <a:avLst/>
          </a:prstGeom>
        </p:spPr>
      </p:pic>
      <p:sp>
        <p:nvSpPr>
          <p:cNvPr id="2053" name="Freeform 2052"/>
          <p:cNvSpPr/>
          <p:nvPr/>
        </p:nvSpPr>
        <p:spPr>
          <a:xfrm>
            <a:off x="6749350" y="3385842"/>
            <a:ext cx="1866123" cy="631700"/>
          </a:xfrm>
          <a:custGeom>
            <a:avLst/>
            <a:gdLst>
              <a:gd name="connsiteX0" fmla="*/ 1866123 w 1866123"/>
              <a:gd name="connsiteY0" fmla="*/ 0 h 578498"/>
              <a:gd name="connsiteX1" fmla="*/ 905070 w 1866123"/>
              <a:gd name="connsiteY1" fmla="*/ 578498 h 578498"/>
              <a:gd name="connsiteX2" fmla="*/ 0 w 1866123"/>
              <a:gd name="connsiteY2" fmla="*/ 578498 h 578498"/>
            </a:gdLst>
            <a:ahLst/>
            <a:cxnLst>
              <a:cxn ang="0">
                <a:pos x="connsiteX0" y="connsiteY0"/>
              </a:cxn>
              <a:cxn ang="0">
                <a:pos x="connsiteX1" y="connsiteY1"/>
              </a:cxn>
              <a:cxn ang="0">
                <a:pos x="connsiteX2" y="connsiteY2"/>
              </a:cxn>
            </a:cxnLst>
            <a:rect l="l" t="t" r="r" b="b"/>
            <a:pathLst>
              <a:path w="1866123" h="578498">
                <a:moveTo>
                  <a:pt x="1866123" y="0"/>
                </a:moveTo>
                <a:lnTo>
                  <a:pt x="905070" y="578498"/>
                </a:lnTo>
                <a:lnTo>
                  <a:pt x="0" y="578498"/>
                </a:lnTo>
              </a:path>
            </a:pathLst>
          </a:custGeom>
          <a:noFill/>
          <a:ln w="38100">
            <a:solidFill>
              <a:srgbClr val="00A98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6" name="Freeform 165"/>
          <p:cNvSpPr/>
          <p:nvPr/>
        </p:nvSpPr>
        <p:spPr>
          <a:xfrm flipV="1">
            <a:off x="6749350" y="4374887"/>
            <a:ext cx="1866123" cy="590517"/>
          </a:xfrm>
          <a:custGeom>
            <a:avLst/>
            <a:gdLst>
              <a:gd name="connsiteX0" fmla="*/ 1866123 w 1866123"/>
              <a:gd name="connsiteY0" fmla="*/ 0 h 578498"/>
              <a:gd name="connsiteX1" fmla="*/ 905070 w 1866123"/>
              <a:gd name="connsiteY1" fmla="*/ 578498 h 578498"/>
              <a:gd name="connsiteX2" fmla="*/ 0 w 1866123"/>
              <a:gd name="connsiteY2" fmla="*/ 578498 h 578498"/>
            </a:gdLst>
            <a:ahLst/>
            <a:cxnLst>
              <a:cxn ang="0">
                <a:pos x="connsiteX0" y="connsiteY0"/>
              </a:cxn>
              <a:cxn ang="0">
                <a:pos x="connsiteX1" y="connsiteY1"/>
              </a:cxn>
              <a:cxn ang="0">
                <a:pos x="connsiteX2" y="connsiteY2"/>
              </a:cxn>
            </a:cxnLst>
            <a:rect l="l" t="t" r="r" b="b"/>
            <a:pathLst>
              <a:path w="1866123" h="578498">
                <a:moveTo>
                  <a:pt x="1866123" y="0"/>
                </a:moveTo>
                <a:lnTo>
                  <a:pt x="905070" y="578498"/>
                </a:lnTo>
                <a:lnTo>
                  <a:pt x="0" y="578498"/>
                </a:lnTo>
              </a:path>
            </a:pathLst>
          </a:custGeom>
          <a:noFill/>
          <a:ln w="38100">
            <a:solidFill>
              <a:srgbClr val="00A98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7" name="Freeform 166"/>
          <p:cNvSpPr/>
          <p:nvPr/>
        </p:nvSpPr>
        <p:spPr>
          <a:xfrm flipV="1">
            <a:off x="6749350" y="4265608"/>
            <a:ext cx="1866123" cy="159728"/>
          </a:xfrm>
          <a:custGeom>
            <a:avLst/>
            <a:gdLst>
              <a:gd name="connsiteX0" fmla="*/ 1866123 w 1866123"/>
              <a:gd name="connsiteY0" fmla="*/ 0 h 578498"/>
              <a:gd name="connsiteX1" fmla="*/ 905070 w 1866123"/>
              <a:gd name="connsiteY1" fmla="*/ 578498 h 578498"/>
              <a:gd name="connsiteX2" fmla="*/ 0 w 1866123"/>
              <a:gd name="connsiteY2" fmla="*/ 578498 h 578498"/>
            </a:gdLst>
            <a:ahLst/>
            <a:cxnLst>
              <a:cxn ang="0">
                <a:pos x="connsiteX0" y="connsiteY0"/>
              </a:cxn>
              <a:cxn ang="0">
                <a:pos x="connsiteX1" y="connsiteY1"/>
              </a:cxn>
              <a:cxn ang="0">
                <a:pos x="connsiteX2" y="connsiteY2"/>
              </a:cxn>
            </a:cxnLst>
            <a:rect l="l" t="t" r="r" b="b"/>
            <a:pathLst>
              <a:path w="1866123" h="578498">
                <a:moveTo>
                  <a:pt x="1866123" y="0"/>
                </a:moveTo>
                <a:lnTo>
                  <a:pt x="905070" y="578498"/>
                </a:lnTo>
                <a:lnTo>
                  <a:pt x="0" y="578498"/>
                </a:lnTo>
              </a:path>
            </a:pathLst>
          </a:custGeom>
          <a:noFill/>
          <a:ln w="38100">
            <a:solidFill>
              <a:srgbClr val="FF544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8" name="Freeform 167"/>
          <p:cNvSpPr/>
          <p:nvPr/>
        </p:nvSpPr>
        <p:spPr>
          <a:xfrm>
            <a:off x="6749350" y="3894386"/>
            <a:ext cx="1866123" cy="230976"/>
          </a:xfrm>
          <a:custGeom>
            <a:avLst/>
            <a:gdLst>
              <a:gd name="connsiteX0" fmla="*/ 1866123 w 1866123"/>
              <a:gd name="connsiteY0" fmla="*/ 0 h 578498"/>
              <a:gd name="connsiteX1" fmla="*/ 905070 w 1866123"/>
              <a:gd name="connsiteY1" fmla="*/ 578498 h 578498"/>
              <a:gd name="connsiteX2" fmla="*/ 0 w 1866123"/>
              <a:gd name="connsiteY2" fmla="*/ 578498 h 578498"/>
            </a:gdLst>
            <a:ahLst/>
            <a:cxnLst>
              <a:cxn ang="0">
                <a:pos x="connsiteX0" y="connsiteY0"/>
              </a:cxn>
              <a:cxn ang="0">
                <a:pos x="connsiteX1" y="connsiteY1"/>
              </a:cxn>
              <a:cxn ang="0">
                <a:pos x="connsiteX2" y="connsiteY2"/>
              </a:cxn>
            </a:cxnLst>
            <a:rect l="l" t="t" r="r" b="b"/>
            <a:pathLst>
              <a:path w="1866123" h="578498">
                <a:moveTo>
                  <a:pt x="1866123" y="0"/>
                </a:moveTo>
                <a:lnTo>
                  <a:pt x="905070" y="578498"/>
                </a:lnTo>
                <a:lnTo>
                  <a:pt x="0" y="578498"/>
                </a:lnTo>
              </a:path>
            </a:pathLst>
          </a:custGeom>
          <a:noFill/>
          <a:ln w="38100">
            <a:solidFill>
              <a:srgbClr val="FF544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21" name="Group 10"/>
          <p:cNvGrpSpPr>
            <a:grpSpLocks noChangeAspect="1"/>
          </p:cNvGrpSpPr>
          <p:nvPr/>
        </p:nvGrpSpPr>
        <p:grpSpPr bwMode="auto">
          <a:xfrm>
            <a:off x="8605475" y="3198711"/>
            <a:ext cx="336550" cy="346075"/>
            <a:chOff x="5177" y="2480"/>
            <a:chExt cx="212" cy="218"/>
          </a:xfrm>
          <a:solidFill>
            <a:srgbClr val="00A982"/>
          </a:solidFill>
        </p:grpSpPr>
        <p:sp>
          <p:nvSpPr>
            <p:cNvPr id="24" name="Freeform 11"/>
            <p:cNvSpPr>
              <a:spLocks/>
            </p:cNvSpPr>
            <p:nvPr/>
          </p:nvSpPr>
          <p:spPr bwMode="auto">
            <a:xfrm>
              <a:off x="5177" y="2480"/>
              <a:ext cx="212" cy="218"/>
            </a:xfrm>
            <a:custGeom>
              <a:avLst/>
              <a:gdLst>
                <a:gd name="T0" fmla="*/ 1251 w 1472"/>
                <a:gd name="T1" fmla="*/ 1509 h 1509"/>
                <a:gd name="T2" fmla="*/ 221 w 1472"/>
                <a:gd name="T3" fmla="*/ 1509 h 1509"/>
                <a:gd name="T4" fmla="*/ 0 w 1472"/>
                <a:gd name="T5" fmla="*/ 1287 h 1509"/>
                <a:gd name="T6" fmla="*/ 0 w 1472"/>
                <a:gd name="T7" fmla="*/ 221 h 1509"/>
                <a:gd name="T8" fmla="*/ 221 w 1472"/>
                <a:gd name="T9" fmla="*/ 0 h 1509"/>
                <a:gd name="T10" fmla="*/ 1251 w 1472"/>
                <a:gd name="T11" fmla="*/ 0 h 1509"/>
                <a:gd name="T12" fmla="*/ 1472 w 1472"/>
                <a:gd name="T13" fmla="*/ 221 h 1509"/>
                <a:gd name="T14" fmla="*/ 1472 w 1472"/>
                <a:gd name="T15" fmla="*/ 898 h 1509"/>
                <a:gd name="T16" fmla="*/ 1409 w 1472"/>
                <a:gd name="T17" fmla="*/ 961 h 1509"/>
                <a:gd name="T18" fmla="*/ 1346 w 1472"/>
                <a:gd name="T19" fmla="*/ 898 h 1509"/>
                <a:gd name="T20" fmla="*/ 1346 w 1472"/>
                <a:gd name="T21" fmla="*/ 221 h 1509"/>
                <a:gd name="T22" fmla="*/ 1251 w 1472"/>
                <a:gd name="T23" fmla="*/ 126 h 1509"/>
                <a:gd name="T24" fmla="*/ 221 w 1472"/>
                <a:gd name="T25" fmla="*/ 126 h 1509"/>
                <a:gd name="T26" fmla="*/ 126 w 1472"/>
                <a:gd name="T27" fmla="*/ 221 h 1509"/>
                <a:gd name="T28" fmla="*/ 126 w 1472"/>
                <a:gd name="T29" fmla="*/ 1287 h 1509"/>
                <a:gd name="T30" fmla="*/ 221 w 1472"/>
                <a:gd name="T31" fmla="*/ 1382 h 1509"/>
                <a:gd name="T32" fmla="*/ 1251 w 1472"/>
                <a:gd name="T33" fmla="*/ 1382 h 1509"/>
                <a:gd name="T34" fmla="*/ 1346 w 1472"/>
                <a:gd name="T35" fmla="*/ 1287 h 1509"/>
                <a:gd name="T36" fmla="*/ 1346 w 1472"/>
                <a:gd name="T37" fmla="*/ 1114 h 1509"/>
                <a:gd name="T38" fmla="*/ 1409 w 1472"/>
                <a:gd name="T39" fmla="*/ 1051 h 1509"/>
                <a:gd name="T40" fmla="*/ 1472 w 1472"/>
                <a:gd name="T41" fmla="*/ 1114 h 1509"/>
                <a:gd name="T42" fmla="*/ 1472 w 1472"/>
                <a:gd name="T43" fmla="*/ 1287 h 1509"/>
                <a:gd name="T44" fmla="*/ 1251 w 1472"/>
                <a:gd name="T45" fmla="*/ 150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2" h="1509">
                  <a:moveTo>
                    <a:pt x="1251" y="1509"/>
                  </a:moveTo>
                  <a:cubicBezTo>
                    <a:pt x="221" y="1509"/>
                    <a:pt x="221" y="1509"/>
                    <a:pt x="221" y="1509"/>
                  </a:cubicBezTo>
                  <a:cubicBezTo>
                    <a:pt x="99" y="1509"/>
                    <a:pt x="0" y="1409"/>
                    <a:pt x="0" y="1287"/>
                  </a:cubicBezTo>
                  <a:cubicBezTo>
                    <a:pt x="0" y="221"/>
                    <a:pt x="0" y="221"/>
                    <a:pt x="0" y="221"/>
                  </a:cubicBezTo>
                  <a:cubicBezTo>
                    <a:pt x="0" y="99"/>
                    <a:pt x="99" y="0"/>
                    <a:pt x="221" y="0"/>
                  </a:cubicBezTo>
                  <a:cubicBezTo>
                    <a:pt x="1251" y="0"/>
                    <a:pt x="1251" y="0"/>
                    <a:pt x="1251" y="0"/>
                  </a:cubicBezTo>
                  <a:cubicBezTo>
                    <a:pt x="1373" y="0"/>
                    <a:pt x="1472" y="99"/>
                    <a:pt x="1472" y="221"/>
                  </a:cubicBezTo>
                  <a:cubicBezTo>
                    <a:pt x="1472" y="898"/>
                    <a:pt x="1472" y="898"/>
                    <a:pt x="1472" y="898"/>
                  </a:cubicBezTo>
                  <a:cubicBezTo>
                    <a:pt x="1472" y="932"/>
                    <a:pt x="1444" y="961"/>
                    <a:pt x="1409" y="961"/>
                  </a:cubicBezTo>
                  <a:cubicBezTo>
                    <a:pt x="1374" y="961"/>
                    <a:pt x="1346" y="932"/>
                    <a:pt x="1346" y="898"/>
                  </a:cubicBezTo>
                  <a:cubicBezTo>
                    <a:pt x="1346" y="221"/>
                    <a:pt x="1346" y="221"/>
                    <a:pt x="1346" y="221"/>
                  </a:cubicBezTo>
                  <a:cubicBezTo>
                    <a:pt x="1346" y="169"/>
                    <a:pt x="1303" y="126"/>
                    <a:pt x="1251" y="126"/>
                  </a:cubicBezTo>
                  <a:cubicBezTo>
                    <a:pt x="221" y="126"/>
                    <a:pt x="221" y="126"/>
                    <a:pt x="221" y="126"/>
                  </a:cubicBezTo>
                  <a:cubicBezTo>
                    <a:pt x="168" y="126"/>
                    <a:pt x="126" y="169"/>
                    <a:pt x="126" y="221"/>
                  </a:cubicBezTo>
                  <a:cubicBezTo>
                    <a:pt x="126" y="1287"/>
                    <a:pt x="126" y="1287"/>
                    <a:pt x="126" y="1287"/>
                  </a:cubicBezTo>
                  <a:cubicBezTo>
                    <a:pt x="126" y="1340"/>
                    <a:pt x="168" y="1382"/>
                    <a:pt x="221" y="1382"/>
                  </a:cubicBezTo>
                  <a:cubicBezTo>
                    <a:pt x="1251" y="1382"/>
                    <a:pt x="1251" y="1382"/>
                    <a:pt x="1251" y="1382"/>
                  </a:cubicBezTo>
                  <a:cubicBezTo>
                    <a:pt x="1303" y="1382"/>
                    <a:pt x="1346" y="1340"/>
                    <a:pt x="1346" y="1287"/>
                  </a:cubicBezTo>
                  <a:cubicBezTo>
                    <a:pt x="1346" y="1114"/>
                    <a:pt x="1346" y="1114"/>
                    <a:pt x="1346" y="1114"/>
                  </a:cubicBezTo>
                  <a:cubicBezTo>
                    <a:pt x="1346" y="1079"/>
                    <a:pt x="1374" y="1051"/>
                    <a:pt x="1409" y="1051"/>
                  </a:cubicBezTo>
                  <a:cubicBezTo>
                    <a:pt x="1444" y="1051"/>
                    <a:pt x="1472" y="1079"/>
                    <a:pt x="1472" y="1114"/>
                  </a:cubicBezTo>
                  <a:cubicBezTo>
                    <a:pt x="1472" y="1287"/>
                    <a:pt x="1472" y="1287"/>
                    <a:pt x="1472" y="1287"/>
                  </a:cubicBezTo>
                  <a:cubicBezTo>
                    <a:pt x="1472" y="1409"/>
                    <a:pt x="1373" y="1509"/>
                    <a:pt x="1251" y="1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Freeform 12"/>
            <p:cNvSpPr>
              <a:spLocks/>
            </p:cNvSpPr>
            <p:nvPr/>
          </p:nvSpPr>
          <p:spPr bwMode="auto">
            <a:xfrm>
              <a:off x="5225" y="2533"/>
              <a:ext cx="117" cy="108"/>
            </a:xfrm>
            <a:custGeom>
              <a:avLst/>
              <a:gdLst>
                <a:gd name="T0" fmla="*/ 305 w 811"/>
                <a:gd name="T1" fmla="*/ 745 h 745"/>
                <a:gd name="T2" fmla="*/ 257 w 811"/>
                <a:gd name="T3" fmla="*/ 722 h 745"/>
                <a:gd name="T4" fmla="*/ 22 w 811"/>
                <a:gd name="T5" fmla="*/ 441 h 745"/>
                <a:gd name="T6" fmla="*/ 30 w 811"/>
                <a:gd name="T7" fmla="*/ 352 h 745"/>
                <a:gd name="T8" fmla="*/ 119 w 811"/>
                <a:gd name="T9" fmla="*/ 360 h 745"/>
                <a:gd name="T10" fmla="*/ 301 w 811"/>
                <a:gd name="T11" fmla="*/ 579 h 745"/>
                <a:gd name="T12" fmla="*/ 688 w 811"/>
                <a:gd name="T13" fmla="*/ 35 h 745"/>
                <a:gd name="T14" fmla="*/ 776 w 811"/>
                <a:gd name="T15" fmla="*/ 20 h 745"/>
                <a:gd name="T16" fmla="*/ 791 w 811"/>
                <a:gd name="T17" fmla="*/ 108 h 745"/>
                <a:gd name="T18" fmla="*/ 357 w 811"/>
                <a:gd name="T19" fmla="*/ 718 h 745"/>
                <a:gd name="T20" fmla="*/ 308 w 811"/>
                <a:gd name="T21" fmla="*/ 745 h 745"/>
                <a:gd name="T22" fmla="*/ 305 w 811"/>
                <a:gd name="T23"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1" h="745">
                  <a:moveTo>
                    <a:pt x="305" y="745"/>
                  </a:moveTo>
                  <a:cubicBezTo>
                    <a:pt x="287" y="745"/>
                    <a:pt x="269" y="737"/>
                    <a:pt x="257" y="722"/>
                  </a:cubicBezTo>
                  <a:cubicBezTo>
                    <a:pt x="22" y="441"/>
                    <a:pt x="22" y="441"/>
                    <a:pt x="22" y="441"/>
                  </a:cubicBezTo>
                  <a:cubicBezTo>
                    <a:pt x="0" y="414"/>
                    <a:pt x="4" y="374"/>
                    <a:pt x="30" y="352"/>
                  </a:cubicBezTo>
                  <a:cubicBezTo>
                    <a:pt x="57" y="329"/>
                    <a:pt x="97" y="333"/>
                    <a:pt x="119" y="360"/>
                  </a:cubicBezTo>
                  <a:cubicBezTo>
                    <a:pt x="301" y="579"/>
                    <a:pt x="301" y="579"/>
                    <a:pt x="301" y="579"/>
                  </a:cubicBezTo>
                  <a:cubicBezTo>
                    <a:pt x="688" y="35"/>
                    <a:pt x="688" y="35"/>
                    <a:pt x="688" y="35"/>
                  </a:cubicBezTo>
                  <a:cubicBezTo>
                    <a:pt x="709" y="7"/>
                    <a:pt x="748" y="0"/>
                    <a:pt x="776" y="20"/>
                  </a:cubicBezTo>
                  <a:cubicBezTo>
                    <a:pt x="805" y="40"/>
                    <a:pt x="811" y="79"/>
                    <a:pt x="791" y="108"/>
                  </a:cubicBezTo>
                  <a:cubicBezTo>
                    <a:pt x="357" y="718"/>
                    <a:pt x="357" y="718"/>
                    <a:pt x="357" y="718"/>
                  </a:cubicBezTo>
                  <a:cubicBezTo>
                    <a:pt x="345" y="734"/>
                    <a:pt x="327" y="744"/>
                    <a:pt x="308" y="745"/>
                  </a:cubicBezTo>
                  <a:cubicBezTo>
                    <a:pt x="307" y="745"/>
                    <a:pt x="306" y="745"/>
                    <a:pt x="305" y="7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32" name="Group 31"/>
          <p:cNvGrpSpPr/>
          <p:nvPr/>
        </p:nvGrpSpPr>
        <p:grpSpPr>
          <a:xfrm>
            <a:off x="8603888" y="3725022"/>
            <a:ext cx="338137" cy="346075"/>
            <a:chOff x="8589963" y="3937000"/>
            <a:chExt cx="338137" cy="346075"/>
          </a:xfrm>
          <a:solidFill>
            <a:srgbClr val="FF5440"/>
          </a:solidFill>
        </p:grpSpPr>
        <p:sp>
          <p:nvSpPr>
            <p:cNvPr id="118" name="Freeform 13"/>
            <p:cNvSpPr>
              <a:spLocks/>
            </p:cNvSpPr>
            <p:nvPr/>
          </p:nvSpPr>
          <p:spPr bwMode="auto">
            <a:xfrm>
              <a:off x="8589963" y="3937000"/>
              <a:ext cx="338137" cy="346075"/>
            </a:xfrm>
            <a:custGeom>
              <a:avLst/>
              <a:gdLst>
                <a:gd name="T0" fmla="*/ 1251 w 1472"/>
                <a:gd name="T1" fmla="*/ 1509 h 1509"/>
                <a:gd name="T2" fmla="*/ 221 w 1472"/>
                <a:gd name="T3" fmla="*/ 1509 h 1509"/>
                <a:gd name="T4" fmla="*/ 0 w 1472"/>
                <a:gd name="T5" fmla="*/ 1287 h 1509"/>
                <a:gd name="T6" fmla="*/ 0 w 1472"/>
                <a:gd name="T7" fmla="*/ 221 h 1509"/>
                <a:gd name="T8" fmla="*/ 221 w 1472"/>
                <a:gd name="T9" fmla="*/ 0 h 1509"/>
                <a:gd name="T10" fmla="*/ 1251 w 1472"/>
                <a:gd name="T11" fmla="*/ 0 h 1509"/>
                <a:gd name="T12" fmla="*/ 1472 w 1472"/>
                <a:gd name="T13" fmla="*/ 221 h 1509"/>
                <a:gd name="T14" fmla="*/ 1472 w 1472"/>
                <a:gd name="T15" fmla="*/ 898 h 1509"/>
                <a:gd name="T16" fmla="*/ 1409 w 1472"/>
                <a:gd name="T17" fmla="*/ 961 h 1509"/>
                <a:gd name="T18" fmla="*/ 1346 w 1472"/>
                <a:gd name="T19" fmla="*/ 898 h 1509"/>
                <a:gd name="T20" fmla="*/ 1346 w 1472"/>
                <a:gd name="T21" fmla="*/ 221 h 1509"/>
                <a:gd name="T22" fmla="*/ 1251 w 1472"/>
                <a:gd name="T23" fmla="*/ 126 h 1509"/>
                <a:gd name="T24" fmla="*/ 221 w 1472"/>
                <a:gd name="T25" fmla="*/ 126 h 1509"/>
                <a:gd name="T26" fmla="*/ 126 w 1472"/>
                <a:gd name="T27" fmla="*/ 221 h 1509"/>
                <a:gd name="T28" fmla="*/ 126 w 1472"/>
                <a:gd name="T29" fmla="*/ 1287 h 1509"/>
                <a:gd name="T30" fmla="*/ 221 w 1472"/>
                <a:gd name="T31" fmla="*/ 1382 h 1509"/>
                <a:gd name="T32" fmla="*/ 1251 w 1472"/>
                <a:gd name="T33" fmla="*/ 1382 h 1509"/>
                <a:gd name="T34" fmla="*/ 1346 w 1472"/>
                <a:gd name="T35" fmla="*/ 1287 h 1509"/>
                <a:gd name="T36" fmla="*/ 1346 w 1472"/>
                <a:gd name="T37" fmla="*/ 1114 h 1509"/>
                <a:gd name="T38" fmla="*/ 1409 w 1472"/>
                <a:gd name="T39" fmla="*/ 1051 h 1509"/>
                <a:gd name="T40" fmla="*/ 1472 w 1472"/>
                <a:gd name="T41" fmla="*/ 1114 h 1509"/>
                <a:gd name="T42" fmla="*/ 1472 w 1472"/>
                <a:gd name="T43" fmla="*/ 1287 h 1509"/>
                <a:gd name="T44" fmla="*/ 1251 w 1472"/>
                <a:gd name="T45" fmla="*/ 150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2" h="1509">
                  <a:moveTo>
                    <a:pt x="1251" y="1509"/>
                  </a:moveTo>
                  <a:cubicBezTo>
                    <a:pt x="221" y="1509"/>
                    <a:pt x="221" y="1509"/>
                    <a:pt x="221" y="1509"/>
                  </a:cubicBezTo>
                  <a:cubicBezTo>
                    <a:pt x="99" y="1509"/>
                    <a:pt x="0" y="1409"/>
                    <a:pt x="0" y="1287"/>
                  </a:cubicBezTo>
                  <a:cubicBezTo>
                    <a:pt x="0" y="221"/>
                    <a:pt x="0" y="221"/>
                    <a:pt x="0" y="221"/>
                  </a:cubicBezTo>
                  <a:cubicBezTo>
                    <a:pt x="0" y="99"/>
                    <a:pt x="99" y="0"/>
                    <a:pt x="221" y="0"/>
                  </a:cubicBezTo>
                  <a:cubicBezTo>
                    <a:pt x="1251" y="0"/>
                    <a:pt x="1251" y="0"/>
                    <a:pt x="1251" y="0"/>
                  </a:cubicBezTo>
                  <a:cubicBezTo>
                    <a:pt x="1373" y="0"/>
                    <a:pt x="1472" y="99"/>
                    <a:pt x="1472" y="221"/>
                  </a:cubicBezTo>
                  <a:cubicBezTo>
                    <a:pt x="1472" y="898"/>
                    <a:pt x="1472" y="898"/>
                    <a:pt x="1472" y="898"/>
                  </a:cubicBezTo>
                  <a:cubicBezTo>
                    <a:pt x="1472" y="932"/>
                    <a:pt x="1444" y="961"/>
                    <a:pt x="1409" y="961"/>
                  </a:cubicBezTo>
                  <a:cubicBezTo>
                    <a:pt x="1374" y="961"/>
                    <a:pt x="1346" y="932"/>
                    <a:pt x="1346" y="898"/>
                  </a:cubicBezTo>
                  <a:cubicBezTo>
                    <a:pt x="1346" y="221"/>
                    <a:pt x="1346" y="221"/>
                    <a:pt x="1346" y="221"/>
                  </a:cubicBezTo>
                  <a:cubicBezTo>
                    <a:pt x="1346" y="169"/>
                    <a:pt x="1304" y="126"/>
                    <a:pt x="1251" y="126"/>
                  </a:cubicBezTo>
                  <a:cubicBezTo>
                    <a:pt x="221" y="126"/>
                    <a:pt x="221" y="126"/>
                    <a:pt x="221" y="126"/>
                  </a:cubicBezTo>
                  <a:cubicBezTo>
                    <a:pt x="169" y="126"/>
                    <a:pt x="126" y="169"/>
                    <a:pt x="126" y="221"/>
                  </a:cubicBezTo>
                  <a:cubicBezTo>
                    <a:pt x="126" y="1287"/>
                    <a:pt x="126" y="1287"/>
                    <a:pt x="126" y="1287"/>
                  </a:cubicBezTo>
                  <a:cubicBezTo>
                    <a:pt x="126" y="1340"/>
                    <a:pt x="169" y="1382"/>
                    <a:pt x="221" y="1382"/>
                  </a:cubicBezTo>
                  <a:cubicBezTo>
                    <a:pt x="1251" y="1382"/>
                    <a:pt x="1251" y="1382"/>
                    <a:pt x="1251" y="1382"/>
                  </a:cubicBezTo>
                  <a:cubicBezTo>
                    <a:pt x="1304" y="1382"/>
                    <a:pt x="1346" y="1340"/>
                    <a:pt x="1346" y="1287"/>
                  </a:cubicBezTo>
                  <a:cubicBezTo>
                    <a:pt x="1346" y="1114"/>
                    <a:pt x="1346" y="1114"/>
                    <a:pt x="1346" y="1114"/>
                  </a:cubicBezTo>
                  <a:cubicBezTo>
                    <a:pt x="1346" y="1079"/>
                    <a:pt x="1374" y="1051"/>
                    <a:pt x="1409" y="1051"/>
                  </a:cubicBezTo>
                  <a:cubicBezTo>
                    <a:pt x="1444" y="1051"/>
                    <a:pt x="1472" y="1079"/>
                    <a:pt x="1472" y="1114"/>
                  </a:cubicBezTo>
                  <a:cubicBezTo>
                    <a:pt x="1472" y="1287"/>
                    <a:pt x="1472" y="1287"/>
                    <a:pt x="1472" y="1287"/>
                  </a:cubicBezTo>
                  <a:cubicBezTo>
                    <a:pt x="1472" y="1409"/>
                    <a:pt x="1373" y="1509"/>
                    <a:pt x="1251" y="1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31" name="Group 30"/>
            <p:cNvGrpSpPr/>
            <p:nvPr/>
          </p:nvGrpSpPr>
          <p:grpSpPr>
            <a:xfrm rot="2700000">
              <a:off x="8675688" y="4025900"/>
              <a:ext cx="166687" cy="166688"/>
              <a:chOff x="8675688" y="4025900"/>
              <a:chExt cx="166687" cy="166688"/>
            </a:xfrm>
            <a:grpFill/>
          </p:grpSpPr>
          <p:sp>
            <p:nvSpPr>
              <p:cNvPr id="119" name="Freeform 14"/>
              <p:cNvSpPr>
                <a:spLocks/>
              </p:cNvSpPr>
              <p:nvPr/>
            </p:nvSpPr>
            <p:spPr bwMode="auto">
              <a:xfrm>
                <a:off x="8745538" y="4025900"/>
                <a:ext cx="28575" cy="166688"/>
              </a:xfrm>
              <a:custGeom>
                <a:avLst/>
                <a:gdLst>
                  <a:gd name="T0" fmla="*/ 63 w 126"/>
                  <a:gd name="T1" fmla="*/ 727 h 727"/>
                  <a:gd name="T2" fmla="*/ 0 w 126"/>
                  <a:gd name="T3" fmla="*/ 664 h 727"/>
                  <a:gd name="T4" fmla="*/ 0 w 126"/>
                  <a:gd name="T5" fmla="*/ 64 h 727"/>
                  <a:gd name="T6" fmla="*/ 63 w 126"/>
                  <a:gd name="T7" fmla="*/ 0 h 727"/>
                  <a:gd name="T8" fmla="*/ 126 w 126"/>
                  <a:gd name="T9" fmla="*/ 64 h 727"/>
                  <a:gd name="T10" fmla="*/ 126 w 126"/>
                  <a:gd name="T11" fmla="*/ 664 h 727"/>
                  <a:gd name="T12" fmla="*/ 63 w 126"/>
                  <a:gd name="T13" fmla="*/ 727 h 727"/>
                </a:gdLst>
                <a:ahLst/>
                <a:cxnLst>
                  <a:cxn ang="0">
                    <a:pos x="T0" y="T1"/>
                  </a:cxn>
                  <a:cxn ang="0">
                    <a:pos x="T2" y="T3"/>
                  </a:cxn>
                  <a:cxn ang="0">
                    <a:pos x="T4" y="T5"/>
                  </a:cxn>
                  <a:cxn ang="0">
                    <a:pos x="T6" y="T7"/>
                  </a:cxn>
                  <a:cxn ang="0">
                    <a:pos x="T8" y="T9"/>
                  </a:cxn>
                  <a:cxn ang="0">
                    <a:pos x="T10" y="T11"/>
                  </a:cxn>
                  <a:cxn ang="0">
                    <a:pos x="T12" y="T13"/>
                  </a:cxn>
                </a:cxnLst>
                <a:rect l="0" t="0" r="r" b="b"/>
                <a:pathLst>
                  <a:path w="126" h="727">
                    <a:moveTo>
                      <a:pt x="63" y="727"/>
                    </a:moveTo>
                    <a:cubicBezTo>
                      <a:pt x="28" y="727"/>
                      <a:pt x="0" y="699"/>
                      <a:pt x="0" y="664"/>
                    </a:cubicBezTo>
                    <a:cubicBezTo>
                      <a:pt x="0" y="64"/>
                      <a:pt x="0" y="64"/>
                      <a:pt x="0" y="64"/>
                    </a:cubicBezTo>
                    <a:cubicBezTo>
                      <a:pt x="0" y="29"/>
                      <a:pt x="28" y="0"/>
                      <a:pt x="63" y="0"/>
                    </a:cubicBezTo>
                    <a:cubicBezTo>
                      <a:pt x="98" y="0"/>
                      <a:pt x="126" y="29"/>
                      <a:pt x="126" y="64"/>
                    </a:cubicBezTo>
                    <a:cubicBezTo>
                      <a:pt x="126" y="664"/>
                      <a:pt x="126" y="664"/>
                      <a:pt x="126" y="664"/>
                    </a:cubicBezTo>
                    <a:cubicBezTo>
                      <a:pt x="126" y="699"/>
                      <a:pt x="98" y="727"/>
                      <a:pt x="63" y="7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0" name="Freeform 15"/>
              <p:cNvSpPr>
                <a:spLocks/>
              </p:cNvSpPr>
              <p:nvPr/>
            </p:nvSpPr>
            <p:spPr bwMode="auto">
              <a:xfrm>
                <a:off x="8675688" y="4095750"/>
                <a:ext cx="166687" cy="28575"/>
              </a:xfrm>
              <a:custGeom>
                <a:avLst/>
                <a:gdLst>
                  <a:gd name="T0" fmla="*/ 663 w 726"/>
                  <a:gd name="T1" fmla="*/ 126 h 126"/>
                  <a:gd name="T2" fmla="*/ 63 w 726"/>
                  <a:gd name="T3" fmla="*/ 126 h 126"/>
                  <a:gd name="T4" fmla="*/ 0 w 726"/>
                  <a:gd name="T5" fmla="*/ 63 h 126"/>
                  <a:gd name="T6" fmla="*/ 63 w 726"/>
                  <a:gd name="T7" fmla="*/ 0 h 126"/>
                  <a:gd name="T8" fmla="*/ 663 w 726"/>
                  <a:gd name="T9" fmla="*/ 0 h 126"/>
                  <a:gd name="T10" fmla="*/ 726 w 726"/>
                  <a:gd name="T11" fmla="*/ 63 h 126"/>
                  <a:gd name="T12" fmla="*/ 663 w 726"/>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726" h="126">
                    <a:moveTo>
                      <a:pt x="663" y="126"/>
                    </a:moveTo>
                    <a:cubicBezTo>
                      <a:pt x="63" y="126"/>
                      <a:pt x="63" y="126"/>
                      <a:pt x="63" y="126"/>
                    </a:cubicBezTo>
                    <a:cubicBezTo>
                      <a:pt x="28" y="126"/>
                      <a:pt x="0" y="98"/>
                      <a:pt x="0" y="63"/>
                    </a:cubicBezTo>
                    <a:cubicBezTo>
                      <a:pt x="0" y="28"/>
                      <a:pt x="28" y="0"/>
                      <a:pt x="63" y="0"/>
                    </a:cubicBezTo>
                    <a:cubicBezTo>
                      <a:pt x="663" y="0"/>
                      <a:pt x="663" y="0"/>
                      <a:pt x="663" y="0"/>
                    </a:cubicBezTo>
                    <a:cubicBezTo>
                      <a:pt x="698" y="0"/>
                      <a:pt x="726" y="28"/>
                      <a:pt x="726" y="63"/>
                    </a:cubicBezTo>
                    <a:cubicBezTo>
                      <a:pt x="726" y="98"/>
                      <a:pt x="698" y="126"/>
                      <a:pt x="66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29" name="Group 128"/>
          <p:cNvGrpSpPr/>
          <p:nvPr/>
        </p:nvGrpSpPr>
        <p:grpSpPr>
          <a:xfrm>
            <a:off x="8603888" y="4267947"/>
            <a:ext cx="338137" cy="346075"/>
            <a:chOff x="8589963" y="3937000"/>
            <a:chExt cx="338137" cy="346075"/>
          </a:xfrm>
          <a:solidFill>
            <a:srgbClr val="FF5440"/>
          </a:solidFill>
        </p:grpSpPr>
        <p:sp>
          <p:nvSpPr>
            <p:cNvPr id="130" name="Freeform 13"/>
            <p:cNvSpPr>
              <a:spLocks/>
            </p:cNvSpPr>
            <p:nvPr/>
          </p:nvSpPr>
          <p:spPr bwMode="auto">
            <a:xfrm>
              <a:off x="8589963" y="3937000"/>
              <a:ext cx="338137" cy="346075"/>
            </a:xfrm>
            <a:custGeom>
              <a:avLst/>
              <a:gdLst>
                <a:gd name="T0" fmla="*/ 1251 w 1472"/>
                <a:gd name="T1" fmla="*/ 1509 h 1509"/>
                <a:gd name="T2" fmla="*/ 221 w 1472"/>
                <a:gd name="T3" fmla="*/ 1509 h 1509"/>
                <a:gd name="T4" fmla="*/ 0 w 1472"/>
                <a:gd name="T5" fmla="*/ 1287 h 1509"/>
                <a:gd name="T6" fmla="*/ 0 w 1472"/>
                <a:gd name="T7" fmla="*/ 221 h 1509"/>
                <a:gd name="T8" fmla="*/ 221 w 1472"/>
                <a:gd name="T9" fmla="*/ 0 h 1509"/>
                <a:gd name="T10" fmla="*/ 1251 w 1472"/>
                <a:gd name="T11" fmla="*/ 0 h 1509"/>
                <a:gd name="T12" fmla="*/ 1472 w 1472"/>
                <a:gd name="T13" fmla="*/ 221 h 1509"/>
                <a:gd name="T14" fmla="*/ 1472 w 1472"/>
                <a:gd name="T15" fmla="*/ 898 h 1509"/>
                <a:gd name="T16" fmla="*/ 1409 w 1472"/>
                <a:gd name="T17" fmla="*/ 961 h 1509"/>
                <a:gd name="T18" fmla="*/ 1346 w 1472"/>
                <a:gd name="T19" fmla="*/ 898 h 1509"/>
                <a:gd name="T20" fmla="*/ 1346 w 1472"/>
                <a:gd name="T21" fmla="*/ 221 h 1509"/>
                <a:gd name="T22" fmla="*/ 1251 w 1472"/>
                <a:gd name="T23" fmla="*/ 126 h 1509"/>
                <a:gd name="T24" fmla="*/ 221 w 1472"/>
                <a:gd name="T25" fmla="*/ 126 h 1509"/>
                <a:gd name="T26" fmla="*/ 126 w 1472"/>
                <a:gd name="T27" fmla="*/ 221 h 1509"/>
                <a:gd name="T28" fmla="*/ 126 w 1472"/>
                <a:gd name="T29" fmla="*/ 1287 h 1509"/>
                <a:gd name="T30" fmla="*/ 221 w 1472"/>
                <a:gd name="T31" fmla="*/ 1382 h 1509"/>
                <a:gd name="T32" fmla="*/ 1251 w 1472"/>
                <a:gd name="T33" fmla="*/ 1382 h 1509"/>
                <a:gd name="T34" fmla="*/ 1346 w 1472"/>
                <a:gd name="T35" fmla="*/ 1287 h 1509"/>
                <a:gd name="T36" fmla="*/ 1346 w 1472"/>
                <a:gd name="T37" fmla="*/ 1114 h 1509"/>
                <a:gd name="T38" fmla="*/ 1409 w 1472"/>
                <a:gd name="T39" fmla="*/ 1051 h 1509"/>
                <a:gd name="T40" fmla="*/ 1472 w 1472"/>
                <a:gd name="T41" fmla="*/ 1114 h 1509"/>
                <a:gd name="T42" fmla="*/ 1472 w 1472"/>
                <a:gd name="T43" fmla="*/ 1287 h 1509"/>
                <a:gd name="T44" fmla="*/ 1251 w 1472"/>
                <a:gd name="T45" fmla="*/ 150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2" h="1509">
                  <a:moveTo>
                    <a:pt x="1251" y="1509"/>
                  </a:moveTo>
                  <a:cubicBezTo>
                    <a:pt x="221" y="1509"/>
                    <a:pt x="221" y="1509"/>
                    <a:pt x="221" y="1509"/>
                  </a:cubicBezTo>
                  <a:cubicBezTo>
                    <a:pt x="99" y="1509"/>
                    <a:pt x="0" y="1409"/>
                    <a:pt x="0" y="1287"/>
                  </a:cubicBezTo>
                  <a:cubicBezTo>
                    <a:pt x="0" y="221"/>
                    <a:pt x="0" y="221"/>
                    <a:pt x="0" y="221"/>
                  </a:cubicBezTo>
                  <a:cubicBezTo>
                    <a:pt x="0" y="99"/>
                    <a:pt x="99" y="0"/>
                    <a:pt x="221" y="0"/>
                  </a:cubicBezTo>
                  <a:cubicBezTo>
                    <a:pt x="1251" y="0"/>
                    <a:pt x="1251" y="0"/>
                    <a:pt x="1251" y="0"/>
                  </a:cubicBezTo>
                  <a:cubicBezTo>
                    <a:pt x="1373" y="0"/>
                    <a:pt x="1472" y="99"/>
                    <a:pt x="1472" y="221"/>
                  </a:cubicBezTo>
                  <a:cubicBezTo>
                    <a:pt x="1472" y="898"/>
                    <a:pt x="1472" y="898"/>
                    <a:pt x="1472" y="898"/>
                  </a:cubicBezTo>
                  <a:cubicBezTo>
                    <a:pt x="1472" y="932"/>
                    <a:pt x="1444" y="961"/>
                    <a:pt x="1409" y="961"/>
                  </a:cubicBezTo>
                  <a:cubicBezTo>
                    <a:pt x="1374" y="961"/>
                    <a:pt x="1346" y="932"/>
                    <a:pt x="1346" y="898"/>
                  </a:cubicBezTo>
                  <a:cubicBezTo>
                    <a:pt x="1346" y="221"/>
                    <a:pt x="1346" y="221"/>
                    <a:pt x="1346" y="221"/>
                  </a:cubicBezTo>
                  <a:cubicBezTo>
                    <a:pt x="1346" y="169"/>
                    <a:pt x="1304" y="126"/>
                    <a:pt x="1251" y="126"/>
                  </a:cubicBezTo>
                  <a:cubicBezTo>
                    <a:pt x="221" y="126"/>
                    <a:pt x="221" y="126"/>
                    <a:pt x="221" y="126"/>
                  </a:cubicBezTo>
                  <a:cubicBezTo>
                    <a:pt x="169" y="126"/>
                    <a:pt x="126" y="169"/>
                    <a:pt x="126" y="221"/>
                  </a:cubicBezTo>
                  <a:cubicBezTo>
                    <a:pt x="126" y="1287"/>
                    <a:pt x="126" y="1287"/>
                    <a:pt x="126" y="1287"/>
                  </a:cubicBezTo>
                  <a:cubicBezTo>
                    <a:pt x="126" y="1340"/>
                    <a:pt x="169" y="1382"/>
                    <a:pt x="221" y="1382"/>
                  </a:cubicBezTo>
                  <a:cubicBezTo>
                    <a:pt x="1251" y="1382"/>
                    <a:pt x="1251" y="1382"/>
                    <a:pt x="1251" y="1382"/>
                  </a:cubicBezTo>
                  <a:cubicBezTo>
                    <a:pt x="1304" y="1382"/>
                    <a:pt x="1346" y="1340"/>
                    <a:pt x="1346" y="1287"/>
                  </a:cubicBezTo>
                  <a:cubicBezTo>
                    <a:pt x="1346" y="1114"/>
                    <a:pt x="1346" y="1114"/>
                    <a:pt x="1346" y="1114"/>
                  </a:cubicBezTo>
                  <a:cubicBezTo>
                    <a:pt x="1346" y="1079"/>
                    <a:pt x="1374" y="1051"/>
                    <a:pt x="1409" y="1051"/>
                  </a:cubicBezTo>
                  <a:cubicBezTo>
                    <a:pt x="1444" y="1051"/>
                    <a:pt x="1472" y="1079"/>
                    <a:pt x="1472" y="1114"/>
                  </a:cubicBezTo>
                  <a:cubicBezTo>
                    <a:pt x="1472" y="1287"/>
                    <a:pt x="1472" y="1287"/>
                    <a:pt x="1472" y="1287"/>
                  </a:cubicBezTo>
                  <a:cubicBezTo>
                    <a:pt x="1472" y="1409"/>
                    <a:pt x="1373" y="1509"/>
                    <a:pt x="1251" y="1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31" name="Group 130"/>
            <p:cNvGrpSpPr/>
            <p:nvPr/>
          </p:nvGrpSpPr>
          <p:grpSpPr>
            <a:xfrm rot="2700000">
              <a:off x="8675688" y="4025900"/>
              <a:ext cx="166687" cy="166688"/>
              <a:chOff x="8675688" y="4025900"/>
              <a:chExt cx="166687" cy="166688"/>
            </a:xfrm>
            <a:grpFill/>
          </p:grpSpPr>
          <p:sp>
            <p:nvSpPr>
              <p:cNvPr id="132" name="Freeform 14"/>
              <p:cNvSpPr>
                <a:spLocks/>
              </p:cNvSpPr>
              <p:nvPr/>
            </p:nvSpPr>
            <p:spPr bwMode="auto">
              <a:xfrm>
                <a:off x="8745538" y="4025900"/>
                <a:ext cx="28575" cy="166688"/>
              </a:xfrm>
              <a:custGeom>
                <a:avLst/>
                <a:gdLst>
                  <a:gd name="T0" fmla="*/ 63 w 126"/>
                  <a:gd name="T1" fmla="*/ 727 h 727"/>
                  <a:gd name="T2" fmla="*/ 0 w 126"/>
                  <a:gd name="T3" fmla="*/ 664 h 727"/>
                  <a:gd name="T4" fmla="*/ 0 w 126"/>
                  <a:gd name="T5" fmla="*/ 64 h 727"/>
                  <a:gd name="T6" fmla="*/ 63 w 126"/>
                  <a:gd name="T7" fmla="*/ 0 h 727"/>
                  <a:gd name="T8" fmla="*/ 126 w 126"/>
                  <a:gd name="T9" fmla="*/ 64 h 727"/>
                  <a:gd name="T10" fmla="*/ 126 w 126"/>
                  <a:gd name="T11" fmla="*/ 664 h 727"/>
                  <a:gd name="T12" fmla="*/ 63 w 126"/>
                  <a:gd name="T13" fmla="*/ 727 h 727"/>
                </a:gdLst>
                <a:ahLst/>
                <a:cxnLst>
                  <a:cxn ang="0">
                    <a:pos x="T0" y="T1"/>
                  </a:cxn>
                  <a:cxn ang="0">
                    <a:pos x="T2" y="T3"/>
                  </a:cxn>
                  <a:cxn ang="0">
                    <a:pos x="T4" y="T5"/>
                  </a:cxn>
                  <a:cxn ang="0">
                    <a:pos x="T6" y="T7"/>
                  </a:cxn>
                  <a:cxn ang="0">
                    <a:pos x="T8" y="T9"/>
                  </a:cxn>
                  <a:cxn ang="0">
                    <a:pos x="T10" y="T11"/>
                  </a:cxn>
                  <a:cxn ang="0">
                    <a:pos x="T12" y="T13"/>
                  </a:cxn>
                </a:cxnLst>
                <a:rect l="0" t="0" r="r" b="b"/>
                <a:pathLst>
                  <a:path w="126" h="727">
                    <a:moveTo>
                      <a:pt x="63" y="727"/>
                    </a:moveTo>
                    <a:cubicBezTo>
                      <a:pt x="28" y="727"/>
                      <a:pt x="0" y="699"/>
                      <a:pt x="0" y="664"/>
                    </a:cubicBezTo>
                    <a:cubicBezTo>
                      <a:pt x="0" y="64"/>
                      <a:pt x="0" y="64"/>
                      <a:pt x="0" y="64"/>
                    </a:cubicBezTo>
                    <a:cubicBezTo>
                      <a:pt x="0" y="29"/>
                      <a:pt x="28" y="0"/>
                      <a:pt x="63" y="0"/>
                    </a:cubicBezTo>
                    <a:cubicBezTo>
                      <a:pt x="98" y="0"/>
                      <a:pt x="126" y="29"/>
                      <a:pt x="126" y="64"/>
                    </a:cubicBezTo>
                    <a:cubicBezTo>
                      <a:pt x="126" y="664"/>
                      <a:pt x="126" y="664"/>
                      <a:pt x="126" y="664"/>
                    </a:cubicBezTo>
                    <a:cubicBezTo>
                      <a:pt x="126" y="699"/>
                      <a:pt x="98" y="727"/>
                      <a:pt x="63" y="7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3" name="Freeform 15"/>
              <p:cNvSpPr>
                <a:spLocks/>
              </p:cNvSpPr>
              <p:nvPr/>
            </p:nvSpPr>
            <p:spPr bwMode="auto">
              <a:xfrm>
                <a:off x="8675688" y="4095750"/>
                <a:ext cx="166687" cy="28575"/>
              </a:xfrm>
              <a:custGeom>
                <a:avLst/>
                <a:gdLst>
                  <a:gd name="T0" fmla="*/ 663 w 726"/>
                  <a:gd name="T1" fmla="*/ 126 h 126"/>
                  <a:gd name="T2" fmla="*/ 63 w 726"/>
                  <a:gd name="T3" fmla="*/ 126 h 126"/>
                  <a:gd name="T4" fmla="*/ 0 w 726"/>
                  <a:gd name="T5" fmla="*/ 63 h 126"/>
                  <a:gd name="T6" fmla="*/ 63 w 726"/>
                  <a:gd name="T7" fmla="*/ 0 h 126"/>
                  <a:gd name="T8" fmla="*/ 663 w 726"/>
                  <a:gd name="T9" fmla="*/ 0 h 126"/>
                  <a:gd name="T10" fmla="*/ 726 w 726"/>
                  <a:gd name="T11" fmla="*/ 63 h 126"/>
                  <a:gd name="T12" fmla="*/ 663 w 726"/>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726" h="126">
                    <a:moveTo>
                      <a:pt x="663" y="126"/>
                    </a:moveTo>
                    <a:cubicBezTo>
                      <a:pt x="63" y="126"/>
                      <a:pt x="63" y="126"/>
                      <a:pt x="63" y="126"/>
                    </a:cubicBezTo>
                    <a:cubicBezTo>
                      <a:pt x="28" y="126"/>
                      <a:pt x="0" y="98"/>
                      <a:pt x="0" y="63"/>
                    </a:cubicBezTo>
                    <a:cubicBezTo>
                      <a:pt x="0" y="28"/>
                      <a:pt x="28" y="0"/>
                      <a:pt x="63" y="0"/>
                    </a:cubicBezTo>
                    <a:cubicBezTo>
                      <a:pt x="663" y="0"/>
                      <a:pt x="663" y="0"/>
                      <a:pt x="663" y="0"/>
                    </a:cubicBezTo>
                    <a:cubicBezTo>
                      <a:pt x="698" y="0"/>
                      <a:pt x="726" y="28"/>
                      <a:pt x="726" y="63"/>
                    </a:cubicBezTo>
                    <a:cubicBezTo>
                      <a:pt x="726" y="98"/>
                      <a:pt x="698" y="126"/>
                      <a:pt x="66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grpSp>
        <p:nvGrpSpPr>
          <p:cNvPr id="134" name="Group 10"/>
          <p:cNvGrpSpPr>
            <a:grpSpLocks noChangeAspect="1"/>
          </p:cNvGrpSpPr>
          <p:nvPr/>
        </p:nvGrpSpPr>
        <p:grpSpPr bwMode="auto">
          <a:xfrm>
            <a:off x="8605475" y="4789386"/>
            <a:ext cx="336550" cy="346075"/>
            <a:chOff x="5177" y="2480"/>
            <a:chExt cx="212" cy="218"/>
          </a:xfrm>
          <a:solidFill>
            <a:srgbClr val="00A982"/>
          </a:solidFill>
        </p:grpSpPr>
        <p:sp>
          <p:nvSpPr>
            <p:cNvPr id="135" name="Freeform 11"/>
            <p:cNvSpPr>
              <a:spLocks/>
            </p:cNvSpPr>
            <p:nvPr/>
          </p:nvSpPr>
          <p:spPr bwMode="auto">
            <a:xfrm>
              <a:off x="5177" y="2480"/>
              <a:ext cx="212" cy="218"/>
            </a:xfrm>
            <a:custGeom>
              <a:avLst/>
              <a:gdLst>
                <a:gd name="T0" fmla="*/ 1251 w 1472"/>
                <a:gd name="T1" fmla="*/ 1509 h 1509"/>
                <a:gd name="T2" fmla="*/ 221 w 1472"/>
                <a:gd name="T3" fmla="*/ 1509 h 1509"/>
                <a:gd name="T4" fmla="*/ 0 w 1472"/>
                <a:gd name="T5" fmla="*/ 1287 h 1509"/>
                <a:gd name="T6" fmla="*/ 0 w 1472"/>
                <a:gd name="T7" fmla="*/ 221 h 1509"/>
                <a:gd name="T8" fmla="*/ 221 w 1472"/>
                <a:gd name="T9" fmla="*/ 0 h 1509"/>
                <a:gd name="T10" fmla="*/ 1251 w 1472"/>
                <a:gd name="T11" fmla="*/ 0 h 1509"/>
                <a:gd name="T12" fmla="*/ 1472 w 1472"/>
                <a:gd name="T13" fmla="*/ 221 h 1509"/>
                <a:gd name="T14" fmla="*/ 1472 w 1472"/>
                <a:gd name="T15" fmla="*/ 898 h 1509"/>
                <a:gd name="T16" fmla="*/ 1409 w 1472"/>
                <a:gd name="T17" fmla="*/ 961 h 1509"/>
                <a:gd name="T18" fmla="*/ 1346 w 1472"/>
                <a:gd name="T19" fmla="*/ 898 h 1509"/>
                <a:gd name="T20" fmla="*/ 1346 w 1472"/>
                <a:gd name="T21" fmla="*/ 221 h 1509"/>
                <a:gd name="T22" fmla="*/ 1251 w 1472"/>
                <a:gd name="T23" fmla="*/ 126 h 1509"/>
                <a:gd name="T24" fmla="*/ 221 w 1472"/>
                <a:gd name="T25" fmla="*/ 126 h 1509"/>
                <a:gd name="T26" fmla="*/ 126 w 1472"/>
                <a:gd name="T27" fmla="*/ 221 h 1509"/>
                <a:gd name="T28" fmla="*/ 126 w 1472"/>
                <a:gd name="T29" fmla="*/ 1287 h 1509"/>
                <a:gd name="T30" fmla="*/ 221 w 1472"/>
                <a:gd name="T31" fmla="*/ 1382 h 1509"/>
                <a:gd name="T32" fmla="*/ 1251 w 1472"/>
                <a:gd name="T33" fmla="*/ 1382 h 1509"/>
                <a:gd name="T34" fmla="*/ 1346 w 1472"/>
                <a:gd name="T35" fmla="*/ 1287 h 1509"/>
                <a:gd name="T36" fmla="*/ 1346 w 1472"/>
                <a:gd name="T37" fmla="*/ 1114 h 1509"/>
                <a:gd name="T38" fmla="*/ 1409 w 1472"/>
                <a:gd name="T39" fmla="*/ 1051 h 1509"/>
                <a:gd name="T40" fmla="*/ 1472 w 1472"/>
                <a:gd name="T41" fmla="*/ 1114 h 1509"/>
                <a:gd name="T42" fmla="*/ 1472 w 1472"/>
                <a:gd name="T43" fmla="*/ 1287 h 1509"/>
                <a:gd name="T44" fmla="*/ 1251 w 1472"/>
                <a:gd name="T45" fmla="*/ 1509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2" h="1509">
                  <a:moveTo>
                    <a:pt x="1251" y="1509"/>
                  </a:moveTo>
                  <a:cubicBezTo>
                    <a:pt x="221" y="1509"/>
                    <a:pt x="221" y="1509"/>
                    <a:pt x="221" y="1509"/>
                  </a:cubicBezTo>
                  <a:cubicBezTo>
                    <a:pt x="99" y="1509"/>
                    <a:pt x="0" y="1409"/>
                    <a:pt x="0" y="1287"/>
                  </a:cubicBezTo>
                  <a:cubicBezTo>
                    <a:pt x="0" y="221"/>
                    <a:pt x="0" y="221"/>
                    <a:pt x="0" y="221"/>
                  </a:cubicBezTo>
                  <a:cubicBezTo>
                    <a:pt x="0" y="99"/>
                    <a:pt x="99" y="0"/>
                    <a:pt x="221" y="0"/>
                  </a:cubicBezTo>
                  <a:cubicBezTo>
                    <a:pt x="1251" y="0"/>
                    <a:pt x="1251" y="0"/>
                    <a:pt x="1251" y="0"/>
                  </a:cubicBezTo>
                  <a:cubicBezTo>
                    <a:pt x="1373" y="0"/>
                    <a:pt x="1472" y="99"/>
                    <a:pt x="1472" y="221"/>
                  </a:cubicBezTo>
                  <a:cubicBezTo>
                    <a:pt x="1472" y="898"/>
                    <a:pt x="1472" y="898"/>
                    <a:pt x="1472" y="898"/>
                  </a:cubicBezTo>
                  <a:cubicBezTo>
                    <a:pt x="1472" y="932"/>
                    <a:pt x="1444" y="961"/>
                    <a:pt x="1409" y="961"/>
                  </a:cubicBezTo>
                  <a:cubicBezTo>
                    <a:pt x="1374" y="961"/>
                    <a:pt x="1346" y="932"/>
                    <a:pt x="1346" y="898"/>
                  </a:cubicBezTo>
                  <a:cubicBezTo>
                    <a:pt x="1346" y="221"/>
                    <a:pt x="1346" y="221"/>
                    <a:pt x="1346" y="221"/>
                  </a:cubicBezTo>
                  <a:cubicBezTo>
                    <a:pt x="1346" y="169"/>
                    <a:pt x="1303" y="126"/>
                    <a:pt x="1251" y="126"/>
                  </a:cubicBezTo>
                  <a:cubicBezTo>
                    <a:pt x="221" y="126"/>
                    <a:pt x="221" y="126"/>
                    <a:pt x="221" y="126"/>
                  </a:cubicBezTo>
                  <a:cubicBezTo>
                    <a:pt x="168" y="126"/>
                    <a:pt x="126" y="169"/>
                    <a:pt x="126" y="221"/>
                  </a:cubicBezTo>
                  <a:cubicBezTo>
                    <a:pt x="126" y="1287"/>
                    <a:pt x="126" y="1287"/>
                    <a:pt x="126" y="1287"/>
                  </a:cubicBezTo>
                  <a:cubicBezTo>
                    <a:pt x="126" y="1340"/>
                    <a:pt x="168" y="1382"/>
                    <a:pt x="221" y="1382"/>
                  </a:cubicBezTo>
                  <a:cubicBezTo>
                    <a:pt x="1251" y="1382"/>
                    <a:pt x="1251" y="1382"/>
                    <a:pt x="1251" y="1382"/>
                  </a:cubicBezTo>
                  <a:cubicBezTo>
                    <a:pt x="1303" y="1382"/>
                    <a:pt x="1346" y="1340"/>
                    <a:pt x="1346" y="1287"/>
                  </a:cubicBezTo>
                  <a:cubicBezTo>
                    <a:pt x="1346" y="1114"/>
                    <a:pt x="1346" y="1114"/>
                    <a:pt x="1346" y="1114"/>
                  </a:cubicBezTo>
                  <a:cubicBezTo>
                    <a:pt x="1346" y="1079"/>
                    <a:pt x="1374" y="1051"/>
                    <a:pt x="1409" y="1051"/>
                  </a:cubicBezTo>
                  <a:cubicBezTo>
                    <a:pt x="1444" y="1051"/>
                    <a:pt x="1472" y="1079"/>
                    <a:pt x="1472" y="1114"/>
                  </a:cubicBezTo>
                  <a:cubicBezTo>
                    <a:pt x="1472" y="1287"/>
                    <a:pt x="1472" y="1287"/>
                    <a:pt x="1472" y="1287"/>
                  </a:cubicBezTo>
                  <a:cubicBezTo>
                    <a:pt x="1472" y="1409"/>
                    <a:pt x="1373" y="1509"/>
                    <a:pt x="1251" y="1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6" name="Freeform 12"/>
            <p:cNvSpPr>
              <a:spLocks/>
            </p:cNvSpPr>
            <p:nvPr/>
          </p:nvSpPr>
          <p:spPr bwMode="auto">
            <a:xfrm>
              <a:off x="5225" y="2533"/>
              <a:ext cx="117" cy="108"/>
            </a:xfrm>
            <a:custGeom>
              <a:avLst/>
              <a:gdLst>
                <a:gd name="T0" fmla="*/ 305 w 811"/>
                <a:gd name="T1" fmla="*/ 745 h 745"/>
                <a:gd name="T2" fmla="*/ 257 w 811"/>
                <a:gd name="T3" fmla="*/ 722 h 745"/>
                <a:gd name="T4" fmla="*/ 22 w 811"/>
                <a:gd name="T5" fmla="*/ 441 h 745"/>
                <a:gd name="T6" fmla="*/ 30 w 811"/>
                <a:gd name="T7" fmla="*/ 352 h 745"/>
                <a:gd name="T8" fmla="*/ 119 w 811"/>
                <a:gd name="T9" fmla="*/ 360 h 745"/>
                <a:gd name="T10" fmla="*/ 301 w 811"/>
                <a:gd name="T11" fmla="*/ 579 h 745"/>
                <a:gd name="T12" fmla="*/ 688 w 811"/>
                <a:gd name="T13" fmla="*/ 35 h 745"/>
                <a:gd name="T14" fmla="*/ 776 w 811"/>
                <a:gd name="T15" fmla="*/ 20 h 745"/>
                <a:gd name="T16" fmla="*/ 791 w 811"/>
                <a:gd name="T17" fmla="*/ 108 h 745"/>
                <a:gd name="T18" fmla="*/ 357 w 811"/>
                <a:gd name="T19" fmla="*/ 718 h 745"/>
                <a:gd name="T20" fmla="*/ 308 w 811"/>
                <a:gd name="T21" fmla="*/ 745 h 745"/>
                <a:gd name="T22" fmla="*/ 305 w 811"/>
                <a:gd name="T23" fmla="*/ 74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1" h="745">
                  <a:moveTo>
                    <a:pt x="305" y="745"/>
                  </a:moveTo>
                  <a:cubicBezTo>
                    <a:pt x="287" y="745"/>
                    <a:pt x="269" y="737"/>
                    <a:pt x="257" y="722"/>
                  </a:cubicBezTo>
                  <a:cubicBezTo>
                    <a:pt x="22" y="441"/>
                    <a:pt x="22" y="441"/>
                    <a:pt x="22" y="441"/>
                  </a:cubicBezTo>
                  <a:cubicBezTo>
                    <a:pt x="0" y="414"/>
                    <a:pt x="4" y="374"/>
                    <a:pt x="30" y="352"/>
                  </a:cubicBezTo>
                  <a:cubicBezTo>
                    <a:pt x="57" y="329"/>
                    <a:pt x="97" y="333"/>
                    <a:pt x="119" y="360"/>
                  </a:cubicBezTo>
                  <a:cubicBezTo>
                    <a:pt x="301" y="579"/>
                    <a:pt x="301" y="579"/>
                    <a:pt x="301" y="579"/>
                  </a:cubicBezTo>
                  <a:cubicBezTo>
                    <a:pt x="688" y="35"/>
                    <a:pt x="688" y="35"/>
                    <a:pt x="688" y="35"/>
                  </a:cubicBezTo>
                  <a:cubicBezTo>
                    <a:pt x="709" y="7"/>
                    <a:pt x="748" y="0"/>
                    <a:pt x="776" y="20"/>
                  </a:cubicBezTo>
                  <a:cubicBezTo>
                    <a:pt x="805" y="40"/>
                    <a:pt x="811" y="79"/>
                    <a:pt x="791" y="108"/>
                  </a:cubicBezTo>
                  <a:cubicBezTo>
                    <a:pt x="357" y="718"/>
                    <a:pt x="357" y="718"/>
                    <a:pt x="357" y="718"/>
                  </a:cubicBezTo>
                  <a:cubicBezTo>
                    <a:pt x="345" y="734"/>
                    <a:pt x="327" y="744"/>
                    <a:pt x="308" y="745"/>
                  </a:cubicBezTo>
                  <a:cubicBezTo>
                    <a:pt x="307" y="745"/>
                    <a:pt x="306" y="745"/>
                    <a:pt x="305" y="7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056" name="Freeform 21"/>
          <p:cNvSpPr>
            <a:spLocks noEditPoints="1"/>
          </p:cNvSpPr>
          <p:nvPr/>
        </p:nvSpPr>
        <p:spPr bwMode="auto">
          <a:xfrm>
            <a:off x="1613853" y="3195955"/>
            <a:ext cx="557212" cy="330200"/>
          </a:xfrm>
          <a:custGeom>
            <a:avLst/>
            <a:gdLst>
              <a:gd name="T0" fmla="*/ 3080 w 3132"/>
              <a:gd name="T1" fmla="*/ 1673 h 1843"/>
              <a:gd name="T2" fmla="*/ 2847 w 3132"/>
              <a:gd name="T3" fmla="*/ 1505 h 1843"/>
              <a:gd name="T4" fmla="*/ 2837 w 3132"/>
              <a:gd name="T5" fmla="*/ 1497 h 1843"/>
              <a:gd name="T6" fmla="*/ 2735 w 3132"/>
              <a:gd name="T7" fmla="*/ 1435 h 1843"/>
              <a:gd name="T8" fmla="*/ 2786 w 3132"/>
              <a:gd name="T9" fmla="*/ 1308 h 1843"/>
              <a:gd name="T10" fmla="*/ 2786 w 3132"/>
              <a:gd name="T11" fmla="*/ 150 h 1843"/>
              <a:gd name="T12" fmla="*/ 2621 w 3132"/>
              <a:gd name="T13" fmla="*/ 0 h 1843"/>
              <a:gd name="T14" fmla="*/ 511 w 3132"/>
              <a:gd name="T15" fmla="*/ 0 h 1843"/>
              <a:gd name="T16" fmla="*/ 335 w 3132"/>
              <a:gd name="T17" fmla="*/ 150 h 1843"/>
              <a:gd name="T18" fmla="*/ 335 w 3132"/>
              <a:gd name="T19" fmla="*/ 1308 h 1843"/>
              <a:gd name="T20" fmla="*/ 394 w 3132"/>
              <a:gd name="T21" fmla="*/ 1436 h 1843"/>
              <a:gd name="T22" fmla="*/ 294 w 3132"/>
              <a:gd name="T23" fmla="*/ 1498 h 1843"/>
              <a:gd name="T24" fmla="*/ 51 w 3132"/>
              <a:gd name="T25" fmla="*/ 1677 h 1843"/>
              <a:gd name="T26" fmla="*/ 13 w 3132"/>
              <a:gd name="T27" fmla="*/ 1781 h 1843"/>
              <a:gd name="T28" fmla="*/ 130 w 3132"/>
              <a:gd name="T29" fmla="*/ 1843 h 1843"/>
              <a:gd name="T30" fmla="*/ 1488 w 3132"/>
              <a:gd name="T31" fmla="*/ 1843 h 1843"/>
              <a:gd name="T32" fmla="*/ 1519 w 3132"/>
              <a:gd name="T33" fmla="*/ 1812 h 1843"/>
              <a:gd name="T34" fmla="*/ 1488 w 3132"/>
              <a:gd name="T35" fmla="*/ 1780 h 1843"/>
              <a:gd name="T36" fmla="*/ 130 w 3132"/>
              <a:gd name="T37" fmla="*/ 1780 h 1843"/>
              <a:gd name="T38" fmla="*/ 72 w 3132"/>
              <a:gd name="T39" fmla="*/ 1760 h 1843"/>
              <a:gd name="T40" fmla="*/ 89 w 3132"/>
              <a:gd name="T41" fmla="*/ 1726 h 1843"/>
              <a:gd name="T42" fmla="*/ 322 w 3132"/>
              <a:gd name="T43" fmla="*/ 1555 h 1843"/>
              <a:gd name="T44" fmla="*/ 332 w 3132"/>
              <a:gd name="T45" fmla="*/ 1548 h 1843"/>
              <a:gd name="T46" fmla="*/ 458 w 3132"/>
              <a:gd name="T47" fmla="*/ 1487 h 1843"/>
              <a:gd name="T48" fmla="*/ 511 w 3132"/>
              <a:gd name="T49" fmla="*/ 1487 h 1843"/>
              <a:gd name="T50" fmla="*/ 2621 w 3132"/>
              <a:gd name="T51" fmla="*/ 1487 h 1843"/>
              <a:gd name="T52" fmla="*/ 2675 w 3132"/>
              <a:gd name="T53" fmla="*/ 1487 h 1843"/>
              <a:gd name="T54" fmla="*/ 2799 w 3132"/>
              <a:gd name="T55" fmla="*/ 1548 h 1843"/>
              <a:gd name="T56" fmla="*/ 3042 w 3132"/>
              <a:gd name="T57" fmla="*/ 1722 h 1843"/>
              <a:gd name="T58" fmla="*/ 3060 w 3132"/>
              <a:gd name="T59" fmla="*/ 1759 h 1843"/>
              <a:gd name="T60" fmla="*/ 3002 w 3132"/>
              <a:gd name="T61" fmla="*/ 1780 h 1843"/>
              <a:gd name="T62" fmla="*/ 1655 w 3132"/>
              <a:gd name="T63" fmla="*/ 1780 h 1843"/>
              <a:gd name="T64" fmla="*/ 1624 w 3132"/>
              <a:gd name="T65" fmla="*/ 1812 h 1843"/>
              <a:gd name="T66" fmla="*/ 1655 w 3132"/>
              <a:gd name="T67" fmla="*/ 1843 h 1843"/>
              <a:gd name="T68" fmla="*/ 3002 w 3132"/>
              <a:gd name="T69" fmla="*/ 1843 h 1843"/>
              <a:gd name="T70" fmla="*/ 3119 w 3132"/>
              <a:gd name="T71" fmla="*/ 1780 h 1843"/>
              <a:gd name="T72" fmla="*/ 3080 w 3132"/>
              <a:gd name="T73" fmla="*/ 1673 h 1843"/>
              <a:gd name="T74" fmla="*/ 1634 w 3132"/>
              <a:gd name="T75" fmla="*/ 1424 h 1843"/>
              <a:gd name="T76" fmla="*/ 511 w 3132"/>
              <a:gd name="T77" fmla="*/ 1424 h 1843"/>
              <a:gd name="T78" fmla="*/ 398 w 3132"/>
              <a:gd name="T79" fmla="*/ 1308 h 1843"/>
              <a:gd name="T80" fmla="*/ 398 w 3132"/>
              <a:gd name="T81" fmla="*/ 150 h 1843"/>
              <a:gd name="T82" fmla="*/ 511 w 3132"/>
              <a:gd name="T83" fmla="*/ 62 h 1843"/>
              <a:gd name="T84" fmla="*/ 2621 w 3132"/>
              <a:gd name="T85" fmla="*/ 62 h 1843"/>
              <a:gd name="T86" fmla="*/ 2723 w 3132"/>
              <a:gd name="T87" fmla="*/ 150 h 1843"/>
              <a:gd name="T88" fmla="*/ 2723 w 3132"/>
              <a:gd name="T89" fmla="*/ 1308 h 1843"/>
              <a:gd name="T90" fmla="*/ 2621 w 3132"/>
              <a:gd name="T91" fmla="*/ 1424 h 1843"/>
              <a:gd name="T92" fmla="*/ 1634 w 3132"/>
              <a:gd name="T93" fmla="*/ 1424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32" h="1843">
                <a:moveTo>
                  <a:pt x="3080" y="1673"/>
                </a:moveTo>
                <a:cubicBezTo>
                  <a:pt x="2847" y="1505"/>
                  <a:pt x="2847" y="1505"/>
                  <a:pt x="2847" y="1505"/>
                </a:cubicBezTo>
                <a:cubicBezTo>
                  <a:pt x="2837" y="1497"/>
                  <a:pt x="2837" y="1497"/>
                  <a:pt x="2837" y="1497"/>
                </a:cubicBezTo>
                <a:cubicBezTo>
                  <a:pt x="2802" y="1471"/>
                  <a:pt x="2771" y="1448"/>
                  <a:pt x="2735" y="1435"/>
                </a:cubicBezTo>
                <a:cubicBezTo>
                  <a:pt x="2766" y="1402"/>
                  <a:pt x="2786" y="1357"/>
                  <a:pt x="2786" y="1308"/>
                </a:cubicBezTo>
                <a:cubicBezTo>
                  <a:pt x="2786" y="150"/>
                  <a:pt x="2786" y="150"/>
                  <a:pt x="2786" y="150"/>
                </a:cubicBezTo>
                <a:cubicBezTo>
                  <a:pt x="2786" y="63"/>
                  <a:pt x="2717" y="0"/>
                  <a:pt x="2621" y="0"/>
                </a:cubicBezTo>
                <a:cubicBezTo>
                  <a:pt x="511" y="0"/>
                  <a:pt x="511" y="0"/>
                  <a:pt x="511" y="0"/>
                </a:cubicBezTo>
                <a:cubicBezTo>
                  <a:pt x="411" y="0"/>
                  <a:pt x="335" y="64"/>
                  <a:pt x="335" y="150"/>
                </a:cubicBezTo>
                <a:cubicBezTo>
                  <a:pt x="335" y="1308"/>
                  <a:pt x="335" y="1308"/>
                  <a:pt x="335" y="1308"/>
                </a:cubicBezTo>
                <a:cubicBezTo>
                  <a:pt x="335" y="1356"/>
                  <a:pt x="359" y="1403"/>
                  <a:pt x="394" y="1436"/>
                </a:cubicBezTo>
                <a:cubicBezTo>
                  <a:pt x="359" y="1449"/>
                  <a:pt x="328" y="1472"/>
                  <a:pt x="294" y="1498"/>
                </a:cubicBezTo>
                <a:cubicBezTo>
                  <a:pt x="51" y="1677"/>
                  <a:pt x="51" y="1677"/>
                  <a:pt x="51" y="1677"/>
                </a:cubicBezTo>
                <a:cubicBezTo>
                  <a:pt x="15" y="1706"/>
                  <a:pt x="0" y="1746"/>
                  <a:pt x="13" y="1781"/>
                </a:cubicBezTo>
                <a:cubicBezTo>
                  <a:pt x="19" y="1800"/>
                  <a:pt x="44" y="1843"/>
                  <a:pt x="130" y="1843"/>
                </a:cubicBezTo>
                <a:cubicBezTo>
                  <a:pt x="1488" y="1843"/>
                  <a:pt x="1488" y="1843"/>
                  <a:pt x="1488" y="1843"/>
                </a:cubicBezTo>
                <a:cubicBezTo>
                  <a:pt x="1505" y="1843"/>
                  <a:pt x="1519" y="1829"/>
                  <a:pt x="1519" y="1812"/>
                </a:cubicBezTo>
                <a:cubicBezTo>
                  <a:pt x="1519" y="1794"/>
                  <a:pt x="1505" y="1780"/>
                  <a:pt x="1488" y="1780"/>
                </a:cubicBezTo>
                <a:cubicBezTo>
                  <a:pt x="130" y="1780"/>
                  <a:pt x="130" y="1780"/>
                  <a:pt x="130" y="1780"/>
                </a:cubicBezTo>
                <a:cubicBezTo>
                  <a:pt x="95" y="1780"/>
                  <a:pt x="75" y="1770"/>
                  <a:pt x="72" y="1760"/>
                </a:cubicBezTo>
                <a:cubicBezTo>
                  <a:pt x="69" y="1751"/>
                  <a:pt x="76" y="1737"/>
                  <a:pt x="89" y="1726"/>
                </a:cubicBezTo>
                <a:cubicBezTo>
                  <a:pt x="322" y="1555"/>
                  <a:pt x="322" y="1555"/>
                  <a:pt x="322" y="1555"/>
                </a:cubicBezTo>
                <a:cubicBezTo>
                  <a:pt x="332" y="1548"/>
                  <a:pt x="332" y="1548"/>
                  <a:pt x="332" y="1548"/>
                </a:cubicBezTo>
                <a:cubicBezTo>
                  <a:pt x="379" y="1513"/>
                  <a:pt x="414" y="1487"/>
                  <a:pt x="458" y="1487"/>
                </a:cubicBezTo>
                <a:cubicBezTo>
                  <a:pt x="511" y="1487"/>
                  <a:pt x="511" y="1487"/>
                  <a:pt x="511" y="1487"/>
                </a:cubicBezTo>
                <a:cubicBezTo>
                  <a:pt x="2621" y="1487"/>
                  <a:pt x="2621" y="1487"/>
                  <a:pt x="2621" y="1487"/>
                </a:cubicBezTo>
                <a:cubicBezTo>
                  <a:pt x="2675" y="1487"/>
                  <a:pt x="2675" y="1487"/>
                  <a:pt x="2675" y="1487"/>
                </a:cubicBezTo>
                <a:cubicBezTo>
                  <a:pt x="2718" y="1487"/>
                  <a:pt x="2752" y="1512"/>
                  <a:pt x="2799" y="1548"/>
                </a:cubicBezTo>
                <a:cubicBezTo>
                  <a:pt x="3042" y="1722"/>
                  <a:pt x="3042" y="1722"/>
                  <a:pt x="3042" y="1722"/>
                </a:cubicBezTo>
                <a:cubicBezTo>
                  <a:pt x="3056" y="1734"/>
                  <a:pt x="3064" y="1749"/>
                  <a:pt x="3060" y="1759"/>
                </a:cubicBezTo>
                <a:cubicBezTo>
                  <a:pt x="3057" y="1769"/>
                  <a:pt x="3039" y="1780"/>
                  <a:pt x="3002" y="1780"/>
                </a:cubicBezTo>
                <a:cubicBezTo>
                  <a:pt x="1655" y="1780"/>
                  <a:pt x="1655" y="1780"/>
                  <a:pt x="1655" y="1780"/>
                </a:cubicBezTo>
                <a:cubicBezTo>
                  <a:pt x="1638" y="1780"/>
                  <a:pt x="1624" y="1794"/>
                  <a:pt x="1624" y="1812"/>
                </a:cubicBezTo>
                <a:cubicBezTo>
                  <a:pt x="1624" y="1829"/>
                  <a:pt x="1638" y="1843"/>
                  <a:pt x="1655" y="1843"/>
                </a:cubicBezTo>
                <a:cubicBezTo>
                  <a:pt x="3002" y="1843"/>
                  <a:pt x="3002" y="1843"/>
                  <a:pt x="3002" y="1843"/>
                </a:cubicBezTo>
                <a:cubicBezTo>
                  <a:pt x="3088" y="1843"/>
                  <a:pt x="3113" y="1799"/>
                  <a:pt x="3119" y="1780"/>
                </a:cubicBezTo>
                <a:cubicBezTo>
                  <a:pt x="3132" y="1744"/>
                  <a:pt x="3117" y="1702"/>
                  <a:pt x="3080" y="1673"/>
                </a:cubicBezTo>
                <a:close/>
                <a:moveTo>
                  <a:pt x="1634" y="1424"/>
                </a:moveTo>
                <a:cubicBezTo>
                  <a:pt x="511" y="1424"/>
                  <a:pt x="511" y="1424"/>
                  <a:pt x="511" y="1424"/>
                </a:cubicBezTo>
                <a:cubicBezTo>
                  <a:pt x="455" y="1424"/>
                  <a:pt x="398" y="1366"/>
                  <a:pt x="398" y="1308"/>
                </a:cubicBezTo>
                <a:cubicBezTo>
                  <a:pt x="398" y="150"/>
                  <a:pt x="398" y="150"/>
                  <a:pt x="398" y="150"/>
                </a:cubicBezTo>
                <a:cubicBezTo>
                  <a:pt x="398" y="93"/>
                  <a:pt x="456" y="62"/>
                  <a:pt x="511" y="62"/>
                </a:cubicBezTo>
                <a:cubicBezTo>
                  <a:pt x="2621" y="62"/>
                  <a:pt x="2621" y="62"/>
                  <a:pt x="2621" y="62"/>
                </a:cubicBezTo>
                <a:cubicBezTo>
                  <a:pt x="2672" y="62"/>
                  <a:pt x="2723" y="90"/>
                  <a:pt x="2723" y="150"/>
                </a:cubicBezTo>
                <a:cubicBezTo>
                  <a:pt x="2723" y="1308"/>
                  <a:pt x="2723" y="1308"/>
                  <a:pt x="2723" y="1308"/>
                </a:cubicBezTo>
                <a:cubicBezTo>
                  <a:pt x="2723" y="1363"/>
                  <a:pt x="2680" y="1424"/>
                  <a:pt x="2621" y="1424"/>
                </a:cubicBezTo>
                <a:lnTo>
                  <a:pt x="1634" y="14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057" name="Group 24"/>
          <p:cNvGrpSpPr>
            <a:grpSpLocks noChangeAspect="1"/>
          </p:cNvGrpSpPr>
          <p:nvPr/>
        </p:nvGrpSpPr>
        <p:grpSpPr bwMode="auto">
          <a:xfrm>
            <a:off x="1785304" y="3737293"/>
            <a:ext cx="214313" cy="338137"/>
            <a:chOff x="1099" y="2687"/>
            <a:chExt cx="135" cy="213"/>
          </a:xfrm>
          <a:solidFill>
            <a:schemeClr val="bg1"/>
          </a:solidFill>
        </p:grpSpPr>
        <p:sp>
          <p:nvSpPr>
            <p:cNvPr id="2059" name="Oval 25"/>
            <p:cNvSpPr>
              <a:spLocks noChangeArrowheads="1"/>
            </p:cNvSpPr>
            <p:nvPr/>
          </p:nvSpPr>
          <p:spPr bwMode="auto">
            <a:xfrm>
              <a:off x="1160" y="2862"/>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60" name="Freeform 26"/>
            <p:cNvSpPr>
              <a:spLocks/>
            </p:cNvSpPr>
            <p:nvPr/>
          </p:nvSpPr>
          <p:spPr bwMode="auto">
            <a:xfrm>
              <a:off x="1099" y="2687"/>
              <a:ext cx="135" cy="213"/>
            </a:xfrm>
            <a:custGeom>
              <a:avLst/>
              <a:gdLst>
                <a:gd name="T0" fmla="*/ 1489 w 1984"/>
                <a:gd name="T1" fmla="*/ 3133 h 3133"/>
                <a:gd name="T2" fmla="*/ 499 w 1984"/>
                <a:gd name="T3" fmla="*/ 3133 h 3133"/>
                <a:gd name="T4" fmla="*/ 0 w 1984"/>
                <a:gd name="T5" fmla="*/ 2622 h 3133"/>
                <a:gd name="T6" fmla="*/ 0 w 1984"/>
                <a:gd name="T7" fmla="*/ 494 h 3133"/>
                <a:gd name="T8" fmla="*/ 499 w 1984"/>
                <a:gd name="T9" fmla="*/ 0 h 3133"/>
                <a:gd name="T10" fmla="*/ 1489 w 1984"/>
                <a:gd name="T11" fmla="*/ 0 h 3133"/>
                <a:gd name="T12" fmla="*/ 1984 w 1984"/>
                <a:gd name="T13" fmla="*/ 494 h 3133"/>
                <a:gd name="T14" fmla="*/ 1984 w 1984"/>
                <a:gd name="T15" fmla="*/ 1740 h 3133"/>
                <a:gd name="T16" fmla="*/ 1932 w 1984"/>
                <a:gd name="T17" fmla="*/ 1793 h 3133"/>
                <a:gd name="T18" fmla="*/ 1880 w 1984"/>
                <a:gd name="T19" fmla="*/ 1740 h 3133"/>
                <a:gd name="T20" fmla="*/ 1880 w 1984"/>
                <a:gd name="T21" fmla="*/ 494 h 3133"/>
                <a:gd name="T22" fmla="*/ 1489 w 1984"/>
                <a:gd name="T23" fmla="*/ 104 h 3133"/>
                <a:gd name="T24" fmla="*/ 499 w 1984"/>
                <a:gd name="T25" fmla="*/ 104 h 3133"/>
                <a:gd name="T26" fmla="*/ 104 w 1984"/>
                <a:gd name="T27" fmla="*/ 494 h 3133"/>
                <a:gd name="T28" fmla="*/ 104 w 1984"/>
                <a:gd name="T29" fmla="*/ 2622 h 3133"/>
                <a:gd name="T30" fmla="*/ 499 w 1984"/>
                <a:gd name="T31" fmla="*/ 3029 h 3133"/>
                <a:gd name="T32" fmla="*/ 1489 w 1984"/>
                <a:gd name="T33" fmla="*/ 3029 h 3133"/>
                <a:gd name="T34" fmla="*/ 1880 w 1984"/>
                <a:gd name="T35" fmla="*/ 2622 h 3133"/>
                <a:gd name="T36" fmla="*/ 1880 w 1984"/>
                <a:gd name="T37" fmla="*/ 2193 h 3133"/>
                <a:gd name="T38" fmla="*/ 1932 w 1984"/>
                <a:gd name="T39" fmla="*/ 2141 h 3133"/>
                <a:gd name="T40" fmla="*/ 1984 w 1984"/>
                <a:gd name="T41" fmla="*/ 2193 h 3133"/>
                <a:gd name="T42" fmla="*/ 1984 w 1984"/>
                <a:gd name="T43" fmla="*/ 2622 h 3133"/>
                <a:gd name="T44" fmla="*/ 1489 w 1984"/>
                <a:gd name="T45" fmla="*/ 3133 h 3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84" h="3133">
                  <a:moveTo>
                    <a:pt x="1489" y="3133"/>
                  </a:moveTo>
                  <a:cubicBezTo>
                    <a:pt x="499" y="3133"/>
                    <a:pt x="499" y="3133"/>
                    <a:pt x="499" y="3133"/>
                  </a:cubicBezTo>
                  <a:cubicBezTo>
                    <a:pt x="229" y="3133"/>
                    <a:pt x="0" y="2899"/>
                    <a:pt x="0" y="2622"/>
                  </a:cubicBezTo>
                  <a:cubicBezTo>
                    <a:pt x="0" y="494"/>
                    <a:pt x="0" y="494"/>
                    <a:pt x="0" y="494"/>
                  </a:cubicBezTo>
                  <a:cubicBezTo>
                    <a:pt x="0" y="221"/>
                    <a:pt x="224" y="0"/>
                    <a:pt x="499" y="0"/>
                  </a:cubicBezTo>
                  <a:cubicBezTo>
                    <a:pt x="1489" y="0"/>
                    <a:pt x="1489" y="0"/>
                    <a:pt x="1489" y="0"/>
                  </a:cubicBezTo>
                  <a:cubicBezTo>
                    <a:pt x="1762" y="0"/>
                    <a:pt x="1984" y="221"/>
                    <a:pt x="1984" y="494"/>
                  </a:cubicBezTo>
                  <a:cubicBezTo>
                    <a:pt x="1984" y="1740"/>
                    <a:pt x="1984" y="1740"/>
                    <a:pt x="1984" y="1740"/>
                  </a:cubicBezTo>
                  <a:cubicBezTo>
                    <a:pt x="1984" y="1769"/>
                    <a:pt x="1961" y="1793"/>
                    <a:pt x="1932" y="1793"/>
                  </a:cubicBezTo>
                  <a:cubicBezTo>
                    <a:pt x="1903" y="1793"/>
                    <a:pt x="1880" y="1769"/>
                    <a:pt x="1880" y="1740"/>
                  </a:cubicBezTo>
                  <a:cubicBezTo>
                    <a:pt x="1880" y="494"/>
                    <a:pt x="1880" y="494"/>
                    <a:pt x="1880" y="494"/>
                  </a:cubicBezTo>
                  <a:cubicBezTo>
                    <a:pt x="1880" y="279"/>
                    <a:pt x="1704" y="104"/>
                    <a:pt x="1489" y="104"/>
                  </a:cubicBezTo>
                  <a:cubicBezTo>
                    <a:pt x="499" y="104"/>
                    <a:pt x="499" y="104"/>
                    <a:pt x="499" y="104"/>
                  </a:cubicBezTo>
                  <a:cubicBezTo>
                    <a:pt x="281" y="104"/>
                    <a:pt x="104" y="279"/>
                    <a:pt x="104" y="494"/>
                  </a:cubicBezTo>
                  <a:cubicBezTo>
                    <a:pt x="104" y="2622"/>
                    <a:pt x="104" y="2622"/>
                    <a:pt x="104" y="2622"/>
                  </a:cubicBezTo>
                  <a:cubicBezTo>
                    <a:pt x="104" y="2842"/>
                    <a:pt x="285" y="3029"/>
                    <a:pt x="499" y="3029"/>
                  </a:cubicBezTo>
                  <a:cubicBezTo>
                    <a:pt x="1489" y="3029"/>
                    <a:pt x="1489" y="3029"/>
                    <a:pt x="1489" y="3029"/>
                  </a:cubicBezTo>
                  <a:cubicBezTo>
                    <a:pt x="1701" y="3029"/>
                    <a:pt x="1880" y="2842"/>
                    <a:pt x="1880" y="2622"/>
                  </a:cubicBezTo>
                  <a:cubicBezTo>
                    <a:pt x="1880" y="2193"/>
                    <a:pt x="1880" y="2193"/>
                    <a:pt x="1880" y="2193"/>
                  </a:cubicBezTo>
                  <a:cubicBezTo>
                    <a:pt x="1880" y="2164"/>
                    <a:pt x="1903" y="2141"/>
                    <a:pt x="1932" y="2141"/>
                  </a:cubicBezTo>
                  <a:cubicBezTo>
                    <a:pt x="1961" y="2141"/>
                    <a:pt x="1984" y="2164"/>
                    <a:pt x="1984" y="2193"/>
                  </a:cubicBezTo>
                  <a:cubicBezTo>
                    <a:pt x="1984" y="2622"/>
                    <a:pt x="1984" y="2622"/>
                    <a:pt x="1984" y="2622"/>
                  </a:cubicBezTo>
                  <a:cubicBezTo>
                    <a:pt x="1984" y="2899"/>
                    <a:pt x="1757" y="3133"/>
                    <a:pt x="1489" y="3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61" name="Freeform 27"/>
            <p:cNvSpPr>
              <a:spLocks/>
            </p:cNvSpPr>
            <p:nvPr/>
          </p:nvSpPr>
          <p:spPr bwMode="auto">
            <a:xfrm>
              <a:off x="1150" y="2713"/>
              <a:ext cx="33" cy="7"/>
            </a:xfrm>
            <a:custGeom>
              <a:avLst/>
              <a:gdLst>
                <a:gd name="T0" fmla="*/ 435 w 488"/>
                <a:gd name="T1" fmla="*/ 104 h 104"/>
                <a:gd name="T2" fmla="*/ 53 w 488"/>
                <a:gd name="T3" fmla="*/ 104 h 104"/>
                <a:gd name="T4" fmla="*/ 0 w 488"/>
                <a:gd name="T5" fmla="*/ 52 h 104"/>
                <a:gd name="T6" fmla="*/ 53 w 488"/>
                <a:gd name="T7" fmla="*/ 0 h 104"/>
                <a:gd name="T8" fmla="*/ 435 w 488"/>
                <a:gd name="T9" fmla="*/ 0 h 104"/>
                <a:gd name="T10" fmla="*/ 488 w 488"/>
                <a:gd name="T11" fmla="*/ 52 h 104"/>
                <a:gd name="T12" fmla="*/ 435 w 488"/>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488" h="104">
                  <a:moveTo>
                    <a:pt x="435" y="104"/>
                  </a:moveTo>
                  <a:cubicBezTo>
                    <a:pt x="53" y="104"/>
                    <a:pt x="53" y="104"/>
                    <a:pt x="53" y="104"/>
                  </a:cubicBezTo>
                  <a:cubicBezTo>
                    <a:pt x="24" y="104"/>
                    <a:pt x="0" y="81"/>
                    <a:pt x="0" y="52"/>
                  </a:cubicBezTo>
                  <a:cubicBezTo>
                    <a:pt x="0" y="23"/>
                    <a:pt x="24" y="0"/>
                    <a:pt x="53" y="0"/>
                  </a:cubicBezTo>
                  <a:cubicBezTo>
                    <a:pt x="435" y="0"/>
                    <a:pt x="435" y="0"/>
                    <a:pt x="435" y="0"/>
                  </a:cubicBezTo>
                  <a:cubicBezTo>
                    <a:pt x="464" y="0"/>
                    <a:pt x="488" y="23"/>
                    <a:pt x="488" y="52"/>
                  </a:cubicBezTo>
                  <a:cubicBezTo>
                    <a:pt x="488" y="81"/>
                    <a:pt x="464" y="104"/>
                    <a:pt x="435"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064" name="Freeform 31"/>
          <p:cNvSpPr>
            <a:spLocks noEditPoints="1"/>
          </p:cNvSpPr>
          <p:nvPr/>
        </p:nvSpPr>
        <p:spPr bwMode="auto">
          <a:xfrm>
            <a:off x="1653542" y="4221480"/>
            <a:ext cx="474663" cy="419100"/>
          </a:xfrm>
          <a:custGeom>
            <a:avLst/>
            <a:gdLst>
              <a:gd name="T0" fmla="*/ 2998 w 3055"/>
              <a:gd name="T1" fmla="*/ 1099 h 2704"/>
              <a:gd name="T2" fmla="*/ 457 w 3055"/>
              <a:gd name="T3" fmla="*/ 105 h 2704"/>
              <a:gd name="T4" fmla="*/ 289 w 3055"/>
              <a:gd name="T5" fmla="*/ 571 h 2704"/>
              <a:gd name="T6" fmla="*/ 529 w 3055"/>
              <a:gd name="T7" fmla="*/ 138 h 2704"/>
              <a:gd name="T8" fmla="*/ 2965 w 3055"/>
              <a:gd name="T9" fmla="*/ 1171 h 2704"/>
              <a:gd name="T10" fmla="*/ 2972 w 3055"/>
              <a:gd name="T11" fmla="*/ 1188 h 2704"/>
              <a:gd name="T12" fmla="*/ 2883 w 3055"/>
              <a:gd name="T13" fmla="*/ 1383 h 2704"/>
              <a:gd name="T14" fmla="*/ 2395 w 3055"/>
              <a:gd name="T15" fmla="*/ 1378 h 2704"/>
              <a:gd name="T16" fmla="*/ 2082 w 3055"/>
              <a:gd name="T17" fmla="*/ 2021 h 2704"/>
              <a:gd name="T18" fmla="*/ 1408 w 3055"/>
              <a:gd name="T19" fmla="*/ 1737 h 2704"/>
              <a:gd name="T20" fmla="*/ 761 w 3055"/>
              <a:gd name="T21" fmla="*/ 1443 h 2704"/>
              <a:gd name="T22" fmla="*/ 138 w 3055"/>
              <a:gd name="T23" fmla="*/ 1160 h 2704"/>
              <a:gd name="T24" fmla="*/ 250 w 3055"/>
              <a:gd name="T25" fmla="*/ 742 h 2704"/>
              <a:gd name="T26" fmla="*/ 178 w 3055"/>
              <a:gd name="T27" fmla="*/ 710 h 2704"/>
              <a:gd name="T28" fmla="*/ 105 w 3055"/>
              <a:gd name="T29" fmla="*/ 1232 h 2704"/>
              <a:gd name="T30" fmla="*/ 639 w 3055"/>
              <a:gd name="T31" fmla="*/ 1489 h 2704"/>
              <a:gd name="T32" fmla="*/ 598 w 3055"/>
              <a:gd name="T33" fmla="*/ 1802 h 2704"/>
              <a:gd name="T34" fmla="*/ 896 w 3055"/>
              <a:gd name="T35" fmla="*/ 1954 h 2704"/>
              <a:gd name="T36" fmla="*/ 880 w 3055"/>
              <a:gd name="T37" fmla="*/ 2401 h 2704"/>
              <a:gd name="T38" fmla="*/ 133 w 3055"/>
              <a:gd name="T39" fmla="*/ 2191 h 2704"/>
              <a:gd name="T40" fmla="*/ 54 w 3055"/>
              <a:gd name="T41" fmla="*/ 2191 h 2704"/>
              <a:gd name="T42" fmla="*/ 93 w 3055"/>
              <a:gd name="T43" fmla="*/ 2704 h 2704"/>
              <a:gd name="T44" fmla="*/ 133 w 3055"/>
              <a:gd name="T45" fmla="*/ 2480 h 2704"/>
              <a:gd name="T46" fmla="*/ 975 w 3055"/>
              <a:gd name="T47" fmla="*/ 2365 h 2704"/>
              <a:gd name="T48" fmla="*/ 1245 w 3055"/>
              <a:gd name="T49" fmla="*/ 2096 h 2704"/>
              <a:gd name="T50" fmla="*/ 1367 w 3055"/>
              <a:gd name="T51" fmla="*/ 2050 h 2704"/>
              <a:gd name="T52" fmla="*/ 1458 w 3055"/>
              <a:gd name="T53" fmla="*/ 1846 h 2704"/>
              <a:gd name="T54" fmla="*/ 2058 w 3055"/>
              <a:gd name="T55" fmla="*/ 2104 h 2704"/>
              <a:gd name="T56" fmla="*/ 2190 w 3055"/>
              <a:gd name="T57" fmla="*/ 2019 h 2704"/>
              <a:gd name="T58" fmla="*/ 2574 w 3055"/>
              <a:gd name="T59" fmla="*/ 2034 h 2704"/>
              <a:gd name="T60" fmla="*/ 2644 w 3055"/>
              <a:gd name="T61" fmla="*/ 2036 h 2704"/>
              <a:gd name="T62" fmla="*/ 2783 w 3055"/>
              <a:gd name="T63" fmla="*/ 1796 h 2704"/>
              <a:gd name="T64" fmla="*/ 2413 w 3055"/>
              <a:gd name="T65" fmla="*/ 1528 h 2704"/>
              <a:gd name="T66" fmla="*/ 2850 w 3055"/>
              <a:gd name="T67" fmla="*/ 1462 h 2704"/>
              <a:gd name="T68" fmla="*/ 3044 w 3055"/>
              <a:gd name="T69" fmla="*/ 1221 h 2704"/>
              <a:gd name="T70" fmla="*/ 1382 w 3055"/>
              <a:gd name="T71" fmla="*/ 1826 h 2704"/>
              <a:gd name="T72" fmla="*/ 1295 w 3055"/>
              <a:gd name="T73" fmla="*/ 2018 h 2704"/>
              <a:gd name="T74" fmla="*/ 630 w 3055"/>
              <a:gd name="T75" fmla="*/ 1731 h 2704"/>
              <a:gd name="T76" fmla="*/ 711 w 3055"/>
              <a:gd name="T77" fmla="*/ 1521 h 2704"/>
              <a:gd name="T78" fmla="*/ 728 w 3055"/>
              <a:gd name="T79" fmla="*/ 1515 h 2704"/>
              <a:gd name="T80" fmla="*/ 1382 w 3055"/>
              <a:gd name="T81" fmla="*/ 1826 h 2704"/>
              <a:gd name="T82" fmla="*/ 2711 w 3055"/>
              <a:gd name="T83" fmla="*/ 1764 h 2704"/>
              <a:gd name="T84" fmla="*/ 2617 w 3055"/>
              <a:gd name="T85" fmla="*/ 1962 h 2704"/>
              <a:gd name="T86" fmla="*/ 2283 w 3055"/>
              <a:gd name="T87" fmla="*/ 1815 h 2704"/>
              <a:gd name="T88" fmla="*/ 2704 w 3055"/>
              <a:gd name="T89" fmla="*/ 1746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55" h="2704">
                <a:moveTo>
                  <a:pt x="3046" y="1151"/>
                </a:moveTo>
                <a:cubicBezTo>
                  <a:pt x="3037" y="1128"/>
                  <a:pt x="3020" y="1109"/>
                  <a:pt x="2998" y="1099"/>
                </a:cubicBezTo>
                <a:cubicBezTo>
                  <a:pt x="649" y="33"/>
                  <a:pt x="649" y="33"/>
                  <a:pt x="649" y="33"/>
                </a:cubicBezTo>
                <a:cubicBezTo>
                  <a:pt x="576" y="0"/>
                  <a:pt x="490" y="33"/>
                  <a:pt x="457" y="105"/>
                </a:cubicBezTo>
                <a:cubicBezTo>
                  <a:pt x="269" y="519"/>
                  <a:pt x="269" y="519"/>
                  <a:pt x="269" y="519"/>
                </a:cubicBezTo>
                <a:cubicBezTo>
                  <a:pt x="260" y="539"/>
                  <a:pt x="269" y="562"/>
                  <a:pt x="289" y="571"/>
                </a:cubicBezTo>
                <a:cubicBezTo>
                  <a:pt x="309" y="580"/>
                  <a:pt x="332" y="571"/>
                  <a:pt x="341" y="552"/>
                </a:cubicBezTo>
                <a:cubicBezTo>
                  <a:pt x="529" y="138"/>
                  <a:pt x="529" y="138"/>
                  <a:pt x="529" y="138"/>
                </a:cubicBezTo>
                <a:cubicBezTo>
                  <a:pt x="544" y="105"/>
                  <a:pt x="583" y="90"/>
                  <a:pt x="616" y="105"/>
                </a:cubicBezTo>
                <a:cubicBezTo>
                  <a:pt x="2965" y="1171"/>
                  <a:pt x="2965" y="1171"/>
                  <a:pt x="2965" y="1171"/>
                </a:cubicBezTo>
                <a:cubicBezTo>
                  <a:pt x="2970" y="1173"/>
                  <a:pt x="2971" y="1176"/>
                  <a:pt x="2972" y="1178"/>
                </a:cubicBezTo>
                <a:cubicBezTo>
                  <a:pt x="2973" y="1180"/>
                  <a:pt x="2974" y="1184"/>
                  <a:pt x="2972" y="1188"/>
                </a:cubicBezTo>
                <a:cubicBezTo>
                  <a:pt x="2885" y="1380"/>
                  <a:pt x="2885" y="1380"/>
                  <a:pt x="2885" y="1380"/>
                </a:cubicBezTo>
                <a:cubicBezTo>
                  <a:pt x="2884" y="1381"/>
                  <a:pt x="2884" y="1382"/>
                  <a:pt x="2883" y="1383"/>
                </a:cubicBezTo>
                <a:cubicBezTo>
                  <a:pt x="2876" y="1384"/>
                  <a:pt x="2861" y="1383"/>
                  <a:pt x="2852" y="1383"/>
                </a:cubicBezTo>
                <a:cubicBezTo>
                  <a:pt x="2395" y="1378"/>
                  <a:pt x="2395" y="1378"/>
                  <a:pt x="2395" y="1378"/>
                </a:cubicBezTo>
                <a:cubicBezTo>
                  <a:pt x="2118" y="1986"/>
                  <a:pt x="2118" y="1986"/>
                  <a:pt x="2118" y="1986"/>
                </a:cubicBezTo>
                <a:cubicBezTo>
                  <a:pt x="2111" y="2002"/>
                  <a:pt x="2098" y="2015"/>
                  <a:pt x="2082" y="2021"/>
                </a:cubicBezTo>
                <a:cubicBezTo>
                  <a:pt x="2065" y="2027"/>
                  <a:pt x="2047" y="2026"/>
                  <a:pt x="2031" y="2019"/>
                </a:cubicBezTo>
                <a:cubicBezTo>
                  <a:pt x="1408" y="1737"/>
                  <a:pt x="1408" y="1737"/>
                  <a:pt x="1408" y="1737"/>
                </a:cubicBezTo>
                <a:cubicBezTo>
                  <a:pt x="1408" y="1736"/>
                  <a:pt x="1408" y="1736"/>
                  <a:pt x="1408" y="1736"/>
                </a:cubicBezTo>
                <a:cubicBezTo>
                  <a:pt x="761" y="1443"/>
                  <a:pt x="761" y="1443"/>
                  <a:pt x="761" y="1443"/>
                </a:cubicBezTo>
                <a:cubicBezTo>
                  <a:pt x="761" y="1443"/>
                  <a:pt x="761" y="1443"/>
                  <a:pt x="761" y="1443"/>
                </a:cubicBezTo>
                <a:cubicBezTo>
                  <a:pt x="138" y="1160"/>
                  <a:pt x="138" y="1160"/>
                  <a:pt x="138" y="1160"/>
                </a:cubicBezTo>
                <a:cubicBezTo>
                  <a:pt x="105" y="1145"/>
                  <a:pt x="90" y="1106"/>
                  <a:pt x="105" y="1073"/>
                </a:cubicBezTo>
                <a:cubicBezTo>
                  <a:pt x="250" y="742"/>
                  <a:pt x="250" y="742"/>
                  <a:pt x="250" y="742"/>
                </a:cubicBezTo>
                <a:cubicBezTo>
                  <a:pt x="259" y="722"/>
                  <a:pt x="250" y="699"/>
                  <a:pt x="230" y="690"/>
                </a:cubicBezTo>
                <a:cubicBezTo>
                  <a:pt x="210" y="681"/>
                  <a:pt x="187" y="690"/>
                  <a:pt x="178" y="710"/>
                </a:cubicBezTo>
                <a:cubicBezTo>
                  <a:pt x="33" y="1040"/>
                  <a:pt x="33" y="1040"/>
                  <a:pt x="33" y="1040"/>
                </a:cubicBezTo>
                <a:cubicBezTo>
                  <a:pt x="0" y="1113"/>
                  <a:pt x="32" y="1199"/>
                  <a:pt x="105" y="1232"/>
                </a:cubicBezTo>
                <a:cubicBezTo>
                  <a:pt x="646" y="1477"/>
                  <a:pt x="646" y="1477"/>
                  <a:pt x="646" y="1477"/>
                </a:cubicBezTo>
                <a:cubicBezTo>
                  <a:pt x="643" y="1481"/>
                  <a:pt x="641" y="1485"/>
                  <a:pt x="639" y="1489"/>
                </a:cubicBezTo>
                <a:cubicBezTo>
                  <a:pt x="552" y="1680"/>
                  <a:pt x="552" y="1680"/>
                  <a:pt x="552" y="1680"/>
                </a:cubicBezTo>
                <a:cubicBezTo>
                  <a:pt x="531" y="1727"/>
                  <a:pt x="551" y="1781"/>
                  <a:pt x="598" y="1802"/>
                </a:cubicBezTo>
                <a:cubicBezTo>
                  <a:pt x="899" y="1939"/>
                  <a:pt x="899" y="1939"/>
                  <a:pt x="899" y="1939"/>
                </a:cubicBezTo>
                <a:cubicBezTo>
                  <a:pt x="897" y="1944"/>
                  <a:pt x="896" y="1949"/>
                  <a:pt x="896" y="1954"/>
                </a:cubicBezTo>
                <a:cubicBezTo>
                  <a:pt x="896" y="2365"/>
                  <a:pt x="896" y="2365"/>
                  <a:pt x="896" y="2365"/>
                </a:cubicBezTo>
                <a:cubicBezTo>
                  <a:pt x="896" y="2376"/>
                  <a:pt x="887" y="2396"/>
                  <a:pt x="880" y="2401"/>
                </a:cubicBezTo>
                <a:cubicBezTo>
                  <a:pt x="133" y="2401"/>
                  <a:pt x="133" y="2401"/>
                  <a:pt x="133" y="2401"/>
                </a:cubicBezTo>
                <a:cubicBezTo>
                  <a:pt x="133" y="2191"/>
                  <a:pt x="133" y="2191"/>
                  <a:pt x="133" y="2191"/>
                </a:cubicBezTo>
                <a:cubicBezTo>
                  <a:pt x="133" y="2169"/>
                  <a:pt x="115" y="2151"/>
                  <a:pt x="93" y="2151"/>
                </a:cubicBezTo>
                <a:cubicBezTo>
                  <a:pt x="72" y="2151"/>
                  <a:pt x="54" y="2169"/>
                  <a:pt x="54" y="2191"/>
                </a:cubicBezTo>
                <a:cubicBezTo>
                  <a:pt x="54" y="2665"/>
                  <a:pt x="54" y="2665"/>
                  <a:pt x="54" y="2665"/>
                </a:cubicBezTo>
                <a:cubicBezTo>
                  <a:pt x="54" y="2686"/>
                  <a:pt x="72" y="2704"/>
                  <a:pt x="93" y="2704"/>
                </a:cubicBezTo>
                <a:cubicBezTo>
                  <a:pt x="115" y="2704"/>
                  <a:pt x="133" y="2686"/>
                  <a:pt x="133" y="2665"/>
                </a:cubicBezTo>
                <a:cubicBezTo>
                  <a:pt x="133" y="2480"/>
                  <a:pt x="133" y="2480"/>
                  <a:pt x="133" y="2480"/>
                </a:cubicBezTo>
                <a:cubicBezTo>
                  <a:pt x="883" y="2480"/>
                  <a:pt x="883" y="2480"/>
                  <a:pt x="883" y="2480"/>
                </a:cubicBezTo>
                <a:cubicBezTo>
                  <a:pt x="939" y="2480"/>
                  <a:pt x="975" y="2412"/>
                  <a:pt x="975" y="2365"/>
                </a:cubicBezTo>
                <a:cubicBezTo>
                  <a:pt x="975" y="1974"/>
                  <a:pt x="975" y="1974"/>
                  <a:pt x="975" y="1974"/>
                </a:cubicBezTo>
                <a:cubicBezTo>
                  <a:pt x="1245" y="2096"/>
                  <a:pt x="1245" y="2096"/>
                  <a:pt x="1245" y="2096"/>
                </a:cubicBezTo>
                <a:cubicBezTo>
                  <a:pt x="1257" y="2102"/>
                  <a:pt x="1270" y="2104"/>
                  <a:pt x="1283" y="2104"/>
                </a:cubicBezTo>
                <a:cubicBezTo>
                  <a:pt x="1318" y="2104"/>
                  <a:pt x="1352" y="2084"/>
                  <a:pt x="1367" y="2050"/>
                </a:cubicBezTo>
                <a:cubicBezTo>
                  <a:pt x="1454" y="1858"/>
                  <a:pt x="1454" y="1858"/>
                  <a:pt x="1454" y="1858"/>
                </a:cubicBezTo>
                <a:cubicBezTo>
                  <a:pt x="1456" y="1854"/>
                  <a:pt x="1457" y="1850"/>
                  <a:pt x="1458" y="1846"/>
                </a:cubicBezTo>
                <a:cubicBezTo>
                  <a:pt x="1999" y="2091"/>
                  <a:pt x="1999" y="2091"/>
                  <a:pt x="1999" y="2091"/>
                </a:cubicBezTo>
                <a:cubicBezTo>
                  <a:pt x="2018" y="2100"/>
                  <a:pt x="2038" y="2104"/>
                  <a:pt x="2058" y="2104"/>
                </a:cubicBezTo>
                <a:cubicBezTo>
                  <a:pt x="2076" y="2104"/>
                  <a:pt x="2093" y="2101"/>
                  <a:pt x="2109" y="2095"/>
                </a:cubicBezTo>
                <a:cubicBezTo>
                  <a:pt x="2146" y="2081"/>
                  <a:pt x="2174" y="2054"/>
                  <a:pt x="2190" y="2019"/>
                </a:cubicBezTo>
                <a:cubicBezTo>
                  <a:pt x="2250" y="1887"/>
                  <a:pt x="2250" y="1887"/>
                  <a:pt x="2250" y="1887"/>
                </a:cubicBezTo>
                <a:cubicBezTo>
                  <a:pt x="2574" y="2034"/>
                  <a:pt x="2574" y="2034"/>
                  <a:pt x="2574" y="2034"/>
                </a:cubicBezTo>
                <a:cubicBezTo>
                  <a:pt x="2586" y="2040"/>
                  <a:pt x="2599" y="2042"/>
                  <a:pt x="2612" y="2042"/>
                </a:cubicBezTo>
                <a:cubicBezTo>
                  <a:pt x="2623" y="2042"/>
                  <a:pt x="2634" y="2040"/>
                  <a:pt x="2644" y="2036"/>
                </a:cubicBezTo>
                <a:cubicBezTo>
                  <a:pt x="2667" y="2028"/>
                  <a:pt x="2686" y="2011"/>
                  <a:pt x="2696" y="1988"/>
                </a:cubicBezTo>
                <a:cubicBezTo>
                  <a:pt x="2783" y="1796"/>
                  <a:pt x="2783" y="1796"/>
                  <a:pt x="2783" y="1796"/>
                </a:cubicBezTo>
                <a:cubicBezTo>
                  <a:pt x="2804" y="1750"/>
                  <a:pt x="2783" y="1695"/>
                  <a:pt x="2737" y="1674"/>
                </a:cubicBezTo>
                <a:cubicBezTo>
                  <a:pt x="2413" y="1528"/>
                  <a:pt x="2413" y="1528"/>
                  <a:pt x="2413" y="1528"/>
                </a:cubicBezTo>
                <a:cubicBezTo>
                  <a:pt x="2445" y="1457"/>
                  <a:pt x="2445" y="1457"/>
                  <a:pt x="2445" y="1457"/>
                </a:cubicBezTo>
                <a:cubicBezTo>
                  <a:pt x="2850" y="1462"/>
                  <a:pt x="2850" y="1462"/>
                  <a:pt x="2850" y="1462"/>
                </a:cubicBezTo>
                <a:cubicBezTo>
                  <a:pt x="2898" y="1464"/>
                  <a:pt x="2933" y="1465"/>
                  <a:pt x="2957" y="1413"/>
                </a:cubicBezTo>
                <a:cubicBezTo>
                  <a:pt x="3044" y="1221"/>
                  <a:pt x="3044" y="1221"/>
                  <a:pt x="3044" y="1221"/>
                </a:cubicBezTo>
                <a:cubicBezTo>
                  <a:pt x="3054" y="1199"/>
                  <a:pt x="3055" y="1174"/>
                  <a:pt x="3046" y="1151"/>
                </a:cubicBezTo>
                <a:close/>
                <a:moveTo>
                  <a:pt x="1382" y="1826"/>
                </a:moveTo>
                <a:cubicBezTo>
                  <a:pt x="1295" y="2018"/>
                  <a:pt x="1295" y="2018"/>
                  <a:pt x="1295" y="2018"/>
                </a:cubicBezTo>
                <a:cubicBezTo>
                  <a:pt x="1295" y="2018"/>
                  <a:pt x="1295" y="2018"/>
                  <a:pt x="1295" y="2018"/>
                </a:cubicBezTo>
                <a:cubicBezTo>
                  <a:pt x="1292" y="2024"/>
                  <a:pt x="1284" y="2027"/>
                  <a:pt x="1278" y="2024"/>
                </a:cubicBezTo>
                <a:cubicBezTo>
                  <a:pt x="630" y="1731"/>
                  <a:pt x="630" y="1731"/>
                  <a:pt x="630" y="1731"/>
                </a:cubicBezTo>
                <a:cubicBezTo>
                  <a:pt x="624" y="1728"/>
                  <a:pt x="621" y="1720"/>
                  <a:pt x="624" y="1713"/>
                </a:cubicBezTo>
                <a:cubicBezTo>
                  <a:pt x="711" y="1521"/>
                  <a:pt x="711" y="1521"/>
                  <a:pt x="711" y="1521"/>
                </a:cubicBezTo>
                <a:cubicBezTo>
                  <a:pt x="713" y="1516"/>
                  <a:pt x="718" y="1514"/>
                  <a:pt x="723" y="1514"/>
                </a:cubicBezTo>
                <a:cubicBezTo>
                  <a:pt x="725" y="1514"/>
                  <a:pt x="726" y="1514"/>
                  <a:pt x="728" y="1515"/>
                </a:cubicBezTo>
                <a:cubicBezTo>
                  <a:pt x="1376" y="1808"/>
                  <a:pt x="1376" y="1808"/>
                  <a:pt x="1376" y="1808"/>
                </a:cubicBezTo>
                <a:cubicBezTo>
                  <a:pt x="1382" y="1811"/>
                  <a:pt x="1385" y="1819"/>
                  <a:pt x="1382" y="1826"/>
                </a:cubicBezTo>
                <a:close/>
                <a:moveTo>
                  <a:pt x="2704" y="1746"/>
                </a:moveTo>
                <a:cubicBezTo>
                  <a:pt x="2711" y="1749"/>
                  <a:pt x="2714" y="1757"/>
                  <a:pt x="2711" y="1764"/>
                </a:cubicBezTo>
                <a:cubicBezTo>
                  <a:pt x="2624" y="1956"/>
                  <a:pt x="2624" y="1956"/>
                  <a:pt x="2624" y="1956"/>
                </a:cubicBezTo>
                <a:cubicBezTo>
                  <a:pt x="2622" y="1960"/>
                  <a:pt x="2618" y="1962"/>
                  <a:pt x="2617" y="1962"/>
                </a:cubicBezTo>
                <a:cubicBezTo>
                  <a:pt x="2615" y="1963"/>
                  <a:pt x="2611" y="1964"/>
                  <a:pt x="2606" y="1962"/>
                </a:cubicBezTo>
                <a:cubicBezTo>
                  <a:pt x="2283" y="1815"/>
                  <a:pt x="2283" y="1815"/>
                  <a:pt x="2283" y="1815"/>
                </a:cubicBezTo>
                <a:cubicBezTo>
                  <a:pt x="2381" y="1600"/>
                  <a:pt x="2381" y="1600"/>
                  <a:pt x="2381" y="1600"/>
                </a:cubicBezTo>
                <a:lnTo>
                  <a:pt x="2704" y="17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066" name="Group 34"/>
          <p:cNvGrpSpPr>
            <a:grpSpLocks noChangeAspect="1"/>
          </p:cNvGrpSpPr>
          <p:nvPr/>
        </p:nvGrpSpPr>
        <p:grpSpPr bwMode="auto">
          <a:xfrm>
            <a:off x="1713863" y="4786637"/>
            <a:ext cx="358775" cy="373063"/>
            <a:chOff x="1054" y="3348"/>
            <a:chExt cx="226" cy="235"/>
          </a:xfrm>
          <a:solidFill>
            <a:schemeClr val="bg1"/>
          </a:solidFill>
        </p:grpSpPr>
        <p:sp>
          <p:nvSpPr>
            <p:cNvPr id="2068" name="Freeform 35"/>
            <p:cNvSpPr>
              <a:spLocks noEditPoints="1"/>
            </p:cNvSpPr>
            <p:nvPr/>
          </p:nvSpPr>
          <p:spPr bwMode="auto">
            <a:xfrm>
              <a:off x="1112" y="3348"/>
              <a:ext cx="111" cy="122"/>
            </a:xfrm>
            <a:custGeom>
              <a:avLst/>
              <a:gdLst>
                <a:gd name="T0" fmla="*/ 242 w 485"/>
                <a:gd name="T1" fmla="*/ 538 h 538"/>
                <a:gd name="T2" fmla="*/ 9 w 485"/>
                <a:gd name="T3" fmla="*/ 272 h 538"/>
                <a:gd name="T4" fmla="*/ 62 w 485"/>
                <a:gd name="T5" fmla="*/ 76 h 538"/>
                <a:gd name="T6" fmla="*/ 242 w 485"/>
                <a:gd name="T7" fmla="*/ 1 h 538"/>
                <a:gd name="T8" fmla="*/ 420 w 485"/>
                <a:gd name="T9" fmla="*/ 72 h 538"/>
                <a:gd name="T10" fmla="*/ 475 w 485"/>
                <a:gd name="T11" fmla="*/ 272 h 538"/>
                <a:gd name="T12" fmla="*/ 242 w 485"/>
                <a:gd name="T13" fmla="*/ 538 h 538"/>
                <a:gd name="T14" fmla="*/ 246 w 485"/>
                <a:gd name="T15" fmla="*/ 42 h 538"/>
                <a:gd name="T16" fmla="*/ 242 w 485"/>
                <a:gd name="T17" fmla="*/ 42 h 538"/>
                <a:gd name="T18" fmla="*/ 93 w 485"/>
                <a:gd name="T19" fmla="*/ 103 h 538"/>
                <a:gd name="T20" fmla="*/ 50 w 485"/>
                <a:gd name="T21" fmla="*/ 267 h 538"/>
                <a:gd name="T22" fmla="*/ 242 w 485"/>
                <a:gd name="T23" fmla="*/ 497 h 538"/>
                <a:gd name="T24" fmla="*/ 434 w 485"/>
                <a:gd name="T25" fmla="*/ 267 h 538"/>
                <a:gd name="T26" fmla="*/ 389 w 485"/>
                <a:gd name="T27" fmla="*/ 99 h 538"/>
                <a:gd name="T28" fmla="*/ 246 w 485"/>
                <a:gd name="T29" fmla="*/ 42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5" h="538">
                  <a:moveTo>
                    <a:pt x="242" y="538"/>
                  </a:moveTo>
                  <a:cubicBezTo>
                    <a:pt x="121" y="538"/>
                    <a:pt x="28" y="431"/>
                    <a:pt x="9" y="272"/>
                  </a:cubicBezTo>
                  <a:cubicBezTo>
                    <a:pt x="0" y="195"/>
                    <a:pt x="19" y="125"/>
                    <a:pt x="62" y="76"/>
                  </a:cubicBezTo>
                  <a:cubicBezTo>
                    <a:pt x="104" y="27"/>
                    <a:pt x="167" y="1"/>
                    <a:pt x="242" y="1"/>
                  </a:cubicBezTo>
                  <a:cubicBezTo>
                    <a:pt x="315" y="0"/>
                    <a:pt x="377" y="24"/>
                    <a:pt x="420" y="72"/>
                  </a:cubicBezTo>
                  <a:cubicBezTo>
                    <a:pt x="465" y="122"/>
                    <a:pt x="485" y="193"/>
                    <a:pt x="475" y="272"/>
                  </a:cubicBezTo>
                  <a:cubicBezTo>
                    <a:pt x="456" y="431"/>
                    <a:pt x="363" y="538"/>
                    <a:pt x="242" y="538"/>
                  </a:cubicBezTo>
                  <a:close/>
                  <a:moveTo>
                    <a:pt x="246" y="42"/>
                  </a:moveTo>
                  <a:cubicBezTo>
                    <a:pt x="244" y="42"/>
                    <a:pt x="243" y="42"/>
                    <a:pt x="242" y="42"/>
                  </a:cubicBezTo>
                  <a:cubicBezTo>
                    <a:pt x="179" y="42"/>
                    <a:pt x="127" y="64"/>
                    <a:pt x="93" y="103"/>
                  </a:cubicBezTo>
                  <a:cubicBezTo>
                    <a:pt x="57" y="143"/>
                    <a:pt x="42" y="202"/>
                    <a:pt x="50" y="267"/>
                  </a:cubicBezTo>
                  <a:cubicBezTo>
                    <a:pt x="68" y="426"/>
                    <a:pt x="160" y="497"/>
                    <a:pt x="242" y="497"/>
                  </a:cubicBezTo>
                  <a:cubicBezTo>
                    <a:pt x="324" y="497"/>
                    <a:pt x="416" y="426"/>
                    <a:pt x="434" y="267"/>
                  </a:cubicBezTo>
                  <a:cubicBezTo>
                    <a:pt x="442" y="200"/>
                    <a:pt x="426" y="140"/>
                    <a:pt x="389" y="99"/>
                  </a:cubicBezTo>
                  <a:cubicBezTo>
                    <a:pt x="355" y="62"/>
                    <a:pt x="306" y="42"/>
                    <a:pt x="24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69" name="Freeform 36"/>
            <p:cNvSpPr>
              <a:spLocks/>
            </p:cNvSpPr>
            <p:nvPr/>
          </p:nvSpPr>
          <p:spPr bwMode="auto">
            <a:xfrm>
              <a:off x="1054" y="3476"/>
              <a:ext cx="226" cy="107"/>
            </a:xfrm>
            <a:custGeom>
              <a:avLst/>
              <a:gdLst>
                <a:gd name="T0" fmla="*/ 972 w 994"/>
                <a:gd name="T1" fmla="*/ 469 h 469"/>
                <a:gd name="T2" fmla="*/ 639 w 994"/>
                <a:gd name="T3" fmla="*/ 469 h 469"/>
                <a:gd name="T4" fmla="*/ 618 w 994"/>
                <a:gd name="T5" fmla="*/ 448 h 469"/>
                <a:gd name="T6" fmla="*/ 639 w 994"/>
                <a:gd name="T7" fmla="*/ 428 h 469"/>
                <a:gd name="T8" fmla="*/ 952 w 994"/>
                <a:gd name="T9" fmla="*/ 428 h 469"/>
                <a:gd name="T10" fmla="*/ 952 w 994"/>
                <a:gd name="T11" fmla="*/ 414 h 469"/>
                <a:gd name="T12" fmla="*/ 680 w 994"/>
                <a:gd name="T13" fmla="*/ 44 h 469"/>
                <a:gd name="T14" fmla="*/ 497 w 994"/>
                <a:gd name="T15" fmla="*/ 102 h 469"/>
                <a:gd name="T16" fmla="*/ 314 w 994"/>
                <a:gd name="T17" fmla="*/ 43 h 469"/>
                <a:gd name="T18" fmla="*/ 42 w 994"/>
                <a:gd name="T19" fmla="*/ 414 h 469"/>
                <a:gd name="T20" fmla="*/ 42 w 994"/>
                <a:gd name="T21" fmla="*/ 428 h 469"/>
                <a:gd name="T22" fmla="*/ 358 w 994"/>
                <a:gd name="T23" fmla="*/ 428 h 469"/>
                <a:gd name="T24" fmla="*/ 379 w 994"/>
                <a:gd name="T25" fmla="*/ 448 h 469"/>
                <a:gd name="T26" fmla="*/ 358 w 994"/>
                <a:gd name="T27" fmla="*/ 469 h 469"/>
                <a:gd name="T28" fmla="*/ 22 w 994"/>
                <a:gd name="T29" fmla="*/ 469 h 469"/>
                <a:gd name="T30" fmla="*/ 1 w 994"/>
                <a:gd name="T31" fmla="*/ 448 h 469"/>
                <a:gd name="T32" fmla="*/ 1 w 994"/>
                <a:gd name="T33" fmla="*/ 414 h 469"/>
                <a:gd name="T34" fmla="*/ 316 w 994"/>
                <a:gd name="T35" fmla="*/ 1 h 469"/>
                <a:gd name="T36" fmla="*/ 331 w 994"/>
                <a:gd name="T37" fmla="*/ 5 h 469"/>
                <a:gd name="T38" fmla="*/ 497 w 994"/>
                <a:gd name="T39" fmla="*/ 61 h 469"/>
                <a:gd name="T40" fmla="*/ 663 w 994"/>
                <a:gd name="T41" fmla="*/ 5 h 469"/>
                <a:gd name="T42" fmla="*/ 678 w 994"/>
                <a:gd name="T43" fmla="*/ 2 h 469"/>
                <a:gd name="T44" fmla="*/ 993 w 994"/>
                <a:gd name="T45" fmla="*/ 414 h 469"/>
                <a:gd name="T46" fmla="*/ 993 w 994"/>
                <a:gd name="T47" fmla="*/ 448 h 469"/>
                <a:gd name="T48" fmla="*/ 972 w 994"/>
                <a:gd name="T49"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4" h="469">
                  <a:moveTo>
                    <a:pt x="972" y="469"/>
                  </a:moveTo>
                  <a:cubicBezTo>
                    <a:pt x="639" y="469"/>
                    <a:pt x="639" y="469"/>
                    <a:pt x="639" y="469"/>
                  </a:cubicBezTo>
                  <a:cubicBezTo>
                    <a:pt x="628" y="469"/>
                    <a:pt x="618" y="460"/>
                    <a:pt x="618" y="448"/>
                  </a:cubicBezTo>
                  <a:cubicBezTo>
                    <a:pt x="618" y="437"/>
                    <a:pt x="628" y="428"/>
                    <a:pt x="639" y="428"/>
                  </a:cubicBezTo>
                  <a:cubicBezTo>
                    <a:pt x="952" y="428"/>
                    <a:pt x="952" y="428"/>
                    <a:pt x="952" y="428"/>
                  </a:cubicBezTo>
                  <a:cubicBezTo>
                    <a:pt x="952" y="414"/>
                    <a:pt x="952" y="414"/>
                    <a:pt x="952" y="414"/>
                  </a:cubicBezTo>
                  <a:cubicBezTo>
                    <a:pt x="952" y="191"/>
                    <a:pt x="953" y="87"/>
                    <a:pt x="680" y="44"/>
                  </a:cubicBezTo>
                  <a:cubicBezTo>
                    <a:pt x="625" y="82"/>
                    <a:pt x="562" y="102"/>
                    <a:pt x="497" y="102"/>
                  </a:cubicBezTo>
                  <a:cubicBezTo>
                    <a:pt x="433" y="102"/>
                    <a:pt x="369" y="82"/>
                    <a:pt x="314" y="43"/>
                  </a:cubicBezTo>
                  <a:cubicBezTo>
                    <a:pt x="41" y="87"/>
                    <a:pt x="42" y="190"/>
                    <a:pt x="42" y="414"/>
                  </a:cubicBezTo>
                  <a:cubicBezTo>
                    <a:pt x="42" y="428"/>
                    <a:pt x="42" y="428"/>
                    <a:pt x="42" y="428"/>
                  </a:cubicBezTo>
                  <a:cubicBezTo>
                    <a:pt x="358" y="428"/>
                    <a:pt x="358" y="428"/>
                    <a:pt x="358" y="428"/>
                  </a:cubicBezTo>
                  <a:cubicBezTo>
                    <a:pt x="370" y="428"/>
                    <a:pt x="379" y="437"/>
                    <a:pt x="379" y="448"/>
                  </a:cubicBezTo>
                  <a:cubicBezTo>
                    <a:pt x="379" y="460"/>
                    <a:pt x="370" y="469"/>
                    <a:pt x="358" y="469"/>
                  </a:cubicBezTo>
                  <a:cubicBezTo>
                    <a:pt x="22" y="469"/>
                    <a:pt x="22" y="469"/>
                    <a:pt x="22" y="469"/>
                  </a:cubicBezTo>
                  <a:cubicBezTo>
                    <a:pt x="11" y="469"/>
                    <a:pt x="1" y="460"/>
                    <a:pt x="1" y="448"/>
                  </a:cubicBezTo>
                  <a:cubicBezTo>
                    <a:pt x="1" y="414"/>
                    <a:pt x="1" y="414"/>
                    <a:pt x="1" y="414"/>
                  </a:cubicBezTo>
                  <a:cubicBezTo>
                    <a:pt x="0" y="187"/>
                    <a:pt x="0" y="50"/>
                    <a:pt x="316" y="1"/>
                  </a:cubicBezTo>
                  <a:cubicBezTo>
                    <a:pt x="321" y="0"/>
                    <a:pt x="327" y="2"/>
                    <a:pt x="331" y="5"/>
                  </a:cubicBezTo>
                  <a:cubicBezTo>
                    <a:pt x="381" y="41"/>
                    <a:pt x="439" y="61"/>
                    <a:pt x="497" y="61"/>
                  </a:cubicBezTo>
                  <a:cubicBezTo>
                    <a:pt x="556" y="61"/>
                    <a:pt x="613" y="41"/>
                    <a:pt x="663" y="5"/>
                  </a:cubicBezTo>
                  <a:cubicBezTo>
                    <a:pt x="667" y="2"/>
                    <a:pt x="673" y="1"/>
                    <a:pt x="678" y="2"/>
                  </a:cubicBezTo>
                  <a:cubicBezTo>
                    <a:pt x="994" y="50"/>
                    <a:pt x="993" y="187"/>
                    <a:pt x="993" y="414"/>
                  </a:cubicBezTo>
                  <a:cubicBezTo>
                    <a:pt x="993" y="448"/>
                    <a:pt x="993" y="448"/>
                    <a:pt x="993" y="448"/>
                  </a:cubicBezTo>
                  <a:cubicBezTo>
                    <a:pt x="993" y="460"/>
                    <a:pt x="983" y="469"/>
                    <a:pt x="972" y="4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 name="Title 3">
            <a:extLst>
              <a:ext uri="{FF2B5EF4-FFF2-40B4-BE49-F238E27FC236}">
                <a16:creationId xmlns:a16="http://schemas.microsoft.com/office/drawing/2014/main" id="{5B423AEC-657C-4276-A46A-2BC2CBB56AC6}"/>
              </a:ext>
            </a:extLst>
          </p:cNvPr>
          <p:cNvSpPr>
            <a:spLocks noGrp="1"/>
          </p:cNvSpPr>
          <p:nvPr>
            <p:ph type="title"/>
          </p:nvPr>
        </p:nvSpPr>
        <p:spPr/>
        <p:txBody>
          <a:bodyPr/>
          <a:lstStyle/>
          <a:p>
            <a:r>
              <a:rPr lang="en-US" dirty="0" err="1">
                <a:solidFill>
                  <a:schemeClr val="tx1"/>
                </a:solidFill>
              </a:rPr>
              <a:t>Utrzymanie</a:t>
            </a:r>
            <a:r>
              <a:rPr lang="en-US" dirty="0">
                <a:solidFill>
                  <a:schemeClr val="tx1"/>
                </a:solidFill>
              </a:rPr>
              <a:t> </a:t>
            </a:r>
            <a:r>
              <a:rPr lang="en-US" dirty="0" err="1">
                <a:solidFill>
                  <a:schemeClr val="tx1"/>
                </a:solidFill>
              </a:rPr>
              <a:t>komunikacji</a:t>
            </a:r>
            <a:r>
              <a:rPr lang="en-US" dirty="0">
                <a:solidFill>
                  <a:schemeClr val="tx1"/>
                </a:solidFill>
              </a:rPr>
              <a:t> </a:t>
            </a:r>
            <a:r>
              <a:rPr lang="en-US" dirty="0" err="1">
                <a:solidFill>
                  <a:schemeClr val="tx1"/>
                </a:solidFill>
              </a:rPr>
              <a:t>i</a:t>
            </a:r>
            <a:r>
              <a:rPr lang="en-US" dirty="0">
                <a:solidFill>
                  <a:schemeClr val="tx1"/>
                </a:solidFill>
              </a:rPr>
              <a:t> </a:t>
            </a:r>
            <a:r>
              <a:rPr lang="en-US" dirty="0" err="1"/>
              <a:t>s</a:t>
            </a:r>
            <a:r>
              <a:rPr lang="en-US" dirty="0" err="1">
                <a:solidFill>
                  <a:schemeClr val="tx1"/>
                </a:solidFill>
              </a:rPr>
              <a:t>eparacja</a:t>
            </a:r>
            <a:r>
              <a:rPr lang="en-US" dirty="0">
                <a:solidFill>
                  <a:schemeClr val="tx1"/>
                </a:solidFill>
              </a:rPr>
              <a:t> </a:t>
            </a:r>
            <a:r>
              <a:rPr lang="en-US" dirty="0" err="1">
                <a:solidFill>
                  <a:schemeClr val="tx1"/>
                </a:solidFill>
              </a:rPr>
              <a:t>ruchu</a:t>
            </a:r>
            <a:r>
              <a:rPr lang="en-US" dirty="0">
                <a:solidFill>
                  <a:schemeClr val="tx1"/>
                </a:solidFill>
              </a:rPr>
              <a:t> </a:t>
            </a:r>
            <a:endParaRPr lang="en-GB" dirty="0">
              <a:solidFill>
                <a:schemeClr val="tx1"/>
              </a:solidFill>
            </a:endParaRPr>
          </a:p>
        </p:txBody>
      </p:sp>
      <p:sp>
        <p:nvSpPr>
          <p:cNvPr id="6" name="Text Placeholder 5">
            <a:extLst>
              <a:ext uri="{FF2B5EF4-FFF2-40B4-BE49-F238E27FC236}">
                <a16:creationId xmlns:a16="http://schemas.microsoft.com/office/drawing/2014/main" id="{956D16C1-0A1C-4120-8992-84C26FD9073A}"/>
              </a:ext>
            </a:extLst>
          </p:cNvPr>
          <p:cNvSpPr>
            <a:spLocks noGrp="1"/>
          </p:cNvSpPr>
          <p:nvPr>
            <p:ph idx="4294967295"/>
          </p:nvPr>
        </p:nvSpPr>
        <p:spPr>
          <a:xfrm>
            <a:off x="0" y="998538"/>
            <a:ext cx="11406188" cy="5097462"/>
          </a:xfrm>
        </p:spPr>
        <p:txBody>
          <a:bodyPr/>
          <a:lstStyle/>
          <a:p>
            <a:r>
              <a:rPr kumimoji="0" lang="pl-PL" sz="2000" i="0" u="none" strike="noStrike" kern="0" cap="none" spc="0" normalizeH="0" baseline="0" noProof="0" dirty="0">
                <a:ln>
                  <a:noFill/>
                </a:ln>
                <a:solidFill>
                  <a:srgbClr val="58595D"/>
                </a:solidFill>
                <a:effectLst/>
                <a:uLnTx/>
                <a:uFillTx/>
                <a:ea typeface="Open Sans Extrabold" panose="020B0606030504020204" pitchFamily="34" charset="0"/>
                <a:cs typeface="Open Sans Extrabold" panose="020B0606030504020204" pitchFamily="34" charset="0"/>
              </a:rPr>
              <a:t>Ochrona danych pacjentów i danych systemów medycznych</a:t>
            </a:r>
            <a:endParaRPr lang="en-GB" sz="2000" dirty="0"/>
          </a:p>
          <a:p>
            <a:endParaRPr lang="en-GB" sz="2000" dirty="0"/>
          </a:p>
        </p:txBody>
      </p:sp>
      <p:sp>
        <p:nvSpPr>
          <p:cNvPr id="2" name="Slide Number Placeholder 1">
            <a:extLst>
              <a:ext uri="{FF2B5EF4-FFF2-40B4-BE49-F238E27FC236}">
                <a16:creationId xmlns:a16="http://schemas.microsoft.com/office/drawing/2014/main" id="{69B42B96-5F66-E126-1315-0C7387460512}"/>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7</a:t>
            </a:fld>
            <a:endParaRPr lang="en-US" dirty="0"/>
          </a:p>
        </p:txBody>
      </p:sp>
    </p:spTree>
    <p:extLst>
      <p:ext uri="{BB962C8B-B14F-4D97-AF65-F5344CB8AC3E}">
        <p14:creationId xmlns:p14="http://schemas.microsoft.com/office/powerpoint/2010/main" val="222516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47B04B-CFFC-C355-7022-D95130DBBAF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D47B04B-CFFC-C355-7022-D95130DBBAF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err="1">
                <a:solidFill>
                  <a:schemeClr val="tx1"/>
                </a:solidFill>
              </a:rPr>
              <a:t>Zbieranie</a:t>
            </a:r>
            <a:r>
              <a:rPr lang="en-US" dirty="0">
                <a:solidFill>
                  <a:schemeClr val="tx1"/>
                </a:solidFill>
              </a:rPr>
              <a:t> </a:t>
            </a:r>
            <a:r>
              <a:rPr lang="en-US" dirty="0" err="1">
                <a:solidFill>
                  <a:schemeClr val="tx1"/>
                </a:solidFill>
              </a:rPr>
              <a:t>danych</a:t>
            </a:r>
            <a:r>
              <a:rPr lang="en-US" dirty="0">
                <a:solidFill>
                  <a:schemeClr val="tx1"/>
                </a:solidFill>
              </a:rPr>
              <a:t> o </a:t>
            </a:r>
            <a:r>
              <a:rPr lang="en-US" dirty="0" err="1">
                <a:solidFill>
                  <a:schemeClr val="tx1"/>
                </a:solidFill>
              </a:rPr>
              <a:t>urządzeniach</a:t>
            </a:r>
            <a:r>
              <a:rPr lang="en-US" dirty="0">
                <a:solidFill>
                  <a:schemeClr val="tx1"/>
                </a:solidFill>
              </a:rPr>
              <a:t> (Client Insights)</a:t>
            </a:r>
          </a:p>
        </p:txBody>
      </p:sp>
      <p:sp>
        <p:nvSpPr>
          <p:cNvPr id="4" name="TextBox 3">
            <a:extLst>
              <a:ext uri="{FF2B5EF4-FFF2-40B4-BE49-F238E27FC236}">
                <a16:creationId xmlns:a16="http://schemas.microsoft.com/office/drawing/2014/main" id="{B04ABED6-1884-2847-BB01-9C5C95D1C310}"/>
              </a:ext>
            </a:extLst>
          </p:cNvPr>
          <p:cNvSpPr txBox="1"/>
          <p:nvPr/>
        </p:nvSpPr>
        <p:spPr>
          <a:xfrm>
            <a:off x="5760722" y="4134862"/>
            <a:ext cx="3055620" cy="1826693"/>
          </a:xfrm>
          <a:prstGeom prst="rect">
            <a:avLst/>
          </a:prstGeom>
          <a:noFill/>
        </p:spPr>
        <p:txBody>
          <a:bodyPr wrap="square" rtlCol="0" anchor="ctr" anchorCtr="1">
            <a:noAutofit/>
          </a:bodyPr>
          <a:lstStyle/>
          <a:p>
            <a:pPr marL="0" marR="0" lvl="0" indent="0" algn="l" defTabSz="914318"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err="1">
                <a:ln>
                  <a:noFill/>
                </a:ln>
                <a:solidFill>
                  <a:srgbClr val="FF7600"/>
                </a:solidFill>
                <a:effectLst/>
                <a:uLnTx/>
                <a:uFillTx/>
                <a:latin typeface="Arial"/>
                <a:ea typeface="+mn-ea"/>
                <a:cs typeface="+mn-cs"/>
              </a:rPr>
              <a:t>Automatyczne</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grupowanie</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br>
              <a:rPr kumimoji="0" lang="pl-PL" sz="1600" b="1" i="0" u="none" strike="noStrike" kern="1200" cap="none" spc="0" normalizeH="0" baseline="0" noProof="0" dirty="0">
                <a:ln>
                  <a:noFill/>
                </a:ln>
                <a:solidFill>
                  <a:srgbClr val="FF7600"/>
                </a:solidFill>
                <a:effectLst/>
                <a:uLnTx/>
                <a:uFillTx/>
                <a:latin typeface="Arial"/>
                <a:ea typeface="+mn-ea"/>
                <a:cs typeface="+mn-cs"/>
              </a:rPr>
            </a:br>
            <a:r>
              <a:rPr kumimoji="0" lang="pl-PL" sz="1600" b="1" i="0" u="none" strike="noStrike" kern="1200" cap="none" spc="0" normalizeH="0" baseline="0" noProof="0" dirty="0">
                <a:ln>
                  <a:noFill/>
                </a:ln>
                <a:solidFill>
                  <a:srgbClr val="FF7600"/>
                </a:solidFill>
                <a:effectLst/>
                <a:uLnTx/>
                <a:uFillTx/>
                <a:latin typeface="Arial"/>
                <a:ea typeface="+mn-ea"/>
                <a:cs typeface="+mn-cs"/>
              </a:rPr>
              <a:t>i</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klasyfikacja</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urządzeń</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br>
              <a:rPr kumimoji="0" lang="pl-PL" sz="1600" b="1" i="0" u="none" strike="noStrike" kern="1200" cap="none" spc="0" normalizeH="0" baseline="0" noProof="0" dirty="0">
                <a:ln>
                  <a:noFill/>
                </a:ln>
                <a:solidFill>
                  <a:srgbClr val="FF7600"/>
                </a:solidFill>
                <a:effectLst/>
                <a:uLnTx/>
                <a:uFillTx/>
                <a:latin typeface="Arial"/>
                <a:ea typeface="+mn-ea"/>
                <a:cs typeface="+mn-cs"/>
              </a:rPr>
            </a:br>
            <a:r>
              <a:rPr kumimoji="0" lang="en-US" sz="1600" b="1" i="0" u="none" strike="noStrike" kern="1200" cap="none" spc="0" normalizeH="0" baseline="0" noProof="0" dirty="0">
                <a:ln>
                  <a:noFill/>
                </a:ln>
                <a:solidFill>
                  <a:srgbClr val="FF7600"/>
                </a:solidFill>
                <a:effectLst/>
                <a:uLnTx/>
                <a:uFillTx/>
                <a:latin typeface="Arial"/>
                <a:ea typeface="+mn-ea"/>
                <a:cs typeface="+mn-cs"/>
              </a:rPr>
              <a:t>o </a:t>
            </a:r>
            <a:r>
              <a:rPr kumimoji="0" lang="en-US" sz="1600" b="1" i="0" u="none" strike="noStrike" kern="1200" cap="none" spc="0" normalizeH="0" baseline="0" noProof="0" dirty="0" err="1">
                <a:ln>
                  <a:noFill/>
                </a:ln>
                <a:solidFill>
                  <a:srgbClr val="FF7600"/>
                </a:solidFill>
                <a:effectLst/>
                <a:uLnTx/>
                <a:uFillTx/>
                <a:latin typeface="Arial"/>
                <a:ea typeface="+mn-ea"/>
                <a:cs typeface="+mn-cs"/>
              </a:rPr>
              <a:t>podobnym</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profilu</a:t>
            </a:r>
            <a:br>
              <a:rPr kumimoji="0" lang="en-US" sz="1600" b="1" i="0" u="none" strike="noStrike" kern="1200" cap="none" spc="0" normalizeH="0" baseline="0" noProof="0" dirty="0">
                <a:ln>
                  <a:noFill/>
                </a:ln>
                <a:solidFill>
                  <a:srgbClr val="F8981E"/>
                </a:solidFill>
                <a:effectLst/>
                <a:uLnTx/>
                <a:uFillTx/>
                <a:latin typeface="Arial"/>
                <a:ea typeface="+mn-ea"/>
                <a:cs typeface="+mn-cs"/>
              </a:rPr>
            </a:br>
            <a:r>
              <a:rPr kumimoji="0" lang="en-US" sz="1600" b="0" i="0" u="none" strike="noStrike" kern="1200" cap="none" spc="0" normalizeH="0" baseline="0" noProof="0" dirty="0">
                <a:ln>
                  <a:noFill/>
                </a:ln>
                <a:solidFill>
                  <a:srgbClr val="000000"/>
                </a:solidFill>
                <a:effectLst/>
                <a:uLnTx/>
                <a:uFillTx/>
                <a:latin typeface="Arial"/>
                <a:ea typeface="+mn-ea"/>
                <a:cs typeface="+mn-cs"/>
              </a:rPr>
              <a:t>z </a:t>
            </a:r>
            <a:r>
              <a:rPr kumimoji="0" lang="en-US" sz="1600" b="0" i="0" u="none" strike="noStrike" kern="1200" cap="none" spc="0" normalizeH="0" baseline="0" noProof="0" dirty="0" err="1">
                <a:ln>
                  <a:noFill/>
                </a:ln>
                <a:solidFill>
                  <a:srgbClr val="000000"/>
                </a:solidFill>
                <a:effectLst/>
                <a:uLnTx/>
                <a:uFillTx/>
                <a:latin typeface="Arial"/>
                <a:ea typeface="+mn-ea"/>
                <a:cs typeface="+mn-cs"/>
              </a:rPr>
              <a:t>wykorzystaniem</a:t>
            </a:r>
            <a:r>
              <a:rPr kumimoji="0" lang="en-US" sz="1600" b="0" i="0" u="none" strike="noStrike" kern="1200" cap="none" spc="0" normalizeH="0" baseline="0" noProof="0" dirty="0">
                <a:ln>
                  <a:noFill/>
                </a:ln>
                <a:solidFill>
                  <a:srgbClr val="000000"/>
                </a:solidFill>
                <a:effectLst/>
                <a:uLnTx/>
                <a:uFillTx/>
                <a:latin typeface="Arial"/>
                <a:ea typeface="+mn-ea"/>
                <a:cs typeface="+mn-cs"/>
              </a:rPr>
              <a:t> ML</a:t>
            </a:r>
          </a:p>
        </p:txBody>
      </p:sp>
      <p:grpSp>
        <p:nvGrpSpPr>
          <p:cNvPr id="6" name="Group 5">
            <a:extLst>
              <a:ext uri="{FF2B5EF4-FFF2-40B4-BE49-F238E27FC236}">
                <a16:creationId xmlns:a16="http://schemas.microsoft.com/office/drawing/2014/main" id="{31816FCA-6579-2741-861D-1F4725380C3E}"/>
              </a:ext>
            </a:extLst>
          </p:cNvPr>
          <p:cNvGrpSpPr/>
          <p:nvPr/>
        </p:nvGrpSpPr>
        <p:grpSpPr>
          <a:xfrm>
            <a:off x="609441" y="1572693"/>
            <a:ext cx="4734719" cy="3639387"/>
            <a:chOff x="1219200" y="2590800"/>
            <a:chExt cx="5562600" cy="4239124"/>
          </a:xfrm>
        </p:grpSpPr>
        <p:pic>
          <p:nvPicPr>
            <p:cNvPr id="7" name="Picture 6">
              <a:extLst>
                <a:ext uri="{FF2B5EF4-FFF2-40B4-BE49-F238E27FC236}">
                  <a16:creationId xmlns:a16="http://schemas.microsoft.com/office/drawing/2014/main" id="{18FC6E0B-2BF1-EA4C-8F39-04ED64C4D30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219200" y="2590800"/>
              <a:ext cx="5562600" cy="4239124"/>
            </a:xfrm>
            <a:prstGeom prst="rect">
              <a:avLst/>
            </a:prstGeom>
          </p:spPr>
        </p:pic>
        <p:pic>
          <p:nvPicPr>
            <p:cNvPr id="8" name="Picture 7">
              <a:extLst>
                <a:ext uri="{FF2B5EF4-FFF2-40B4-BE49-F238E27FC236}">
                  <a16:creationId xmlns:a16="http://schemas.microsoft.com/office/drawing/2014/main" id="{BDA275C0-CA51-C444-9DAC-43598DFF21F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94999" y="2995006"/>
              <a:ext cx="4980389" cy="2814123"/>
            </a:xfrm>
            <a:prstGeom prst="rect">
              <a:avLst/>
            </a:prstGeom>
          </p:spPr>
        </p:pic>
      </p:grpSp>
      <p:sp>
        <p:nvSpPr>
          <p:cNvPr id="9" name="TextBox 8">
            <a:extLst>
              <a:ext uri="{FF2B5EF4-FFF2-40B4-BE49-F238E27FC236}">
                <a16:creationId xmlns:a16="http://schemas.microsoft.com/office/drawing/2014/main" id="{13F39F22-DD07-7046-8499-DA0C1DF58E9C}"/>
              </a:ext>
            </a:extLst>
          </p:cNvPr>
          <p:cNvSpPr txBox="1"/>
          <p:nvPr/>
        </p:nvSpPr>
        <p:spPr>
          <a:xfrm>
            <a:off x="6196405" y="3434080"/>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02D7844A-2E46-4B9D-984C-0753EC176162}"/>
              </a:ext>
            </a:extLst>
          </p:cNvPr>
          <p:cNvSpPr txBox="1"/>
          <p:nvPr/>
        </p:nvSpPr>
        <p:spPr>
          <a:xfrm>
            <a:off x="9171941" y="4509599"/>
            <a:ext cx="2731912" cy="1077218"/>
          </a:xfrm>
          <a:prstGeom prst="rect">
            <a:avLst/>
          </a:prstGeom>
          <a:noFill/>
        </p:spPr>
        <p:txBody>
          <a:bodyPr wrap="square">
            <a:spAutoFit/>
          </a:bodyPr>
          <a:lstStyle/>
          <a:p>
            <a:pPr marL="0" marR="0" lvl="0" indent="0" algn="l" defTabSz="914318" rtl="0" eaLnBrk="1" fontAlgn="auto" latinLnBrk="0" hangingPunct="1">
              <a:lnSpc>
                <a:spcPct val="100000"/>
              </a:lnSpc>
              <a:spcBef>
                <a:spcPts val="600"/>
              </a:spcBef>
              <a:spcAft>
                <a:spcPts val="600"/>
              </a:spcAft>
              <a:buClrTx/>
              <a:buSzTx/>
              <a:buFontTx/>
              <a:buNone/>
              <a:tabLst/>
              <a:defRPr/>
            </a:pPr>
            <a:r>
              <a:rPr lang="en-US" sz="1600" b="1" dirty="0" err="1">
                <a:solidFill>
                  <a:srgbClr val="FF7600"/>
                </a:solidFill>
                <a:latin typeface="Arial"/>
              </a:rPr>
              <a:t>Zapewnienie</a:t>
            </a:r>
            <a:r>
              <a:rPr lang="en-US" sz="1600" b="1" dirty="0">
                <a:solidFill>
                  <a:srgbClr val="FF7600"/>
                </a:solidFill>
                <a:latin typeface="Arial"/>
              </a:rPr>
              <a:t> </a:t>
            </a:r>
            <a:r>
              <a:rPr lang="en-US" sz="1600" b="1" dirty="0" err="1">
                <a:solidFill>
                  <a:srgbClr val="FF7600"/>
                </a:solidFill>
                <a:latin typeface="Arial"/>
              </a:rPr>
              <a:t>bezpiecznego</a:t>
            </a:r>
            <a:r>
              <a:rPr lang="en-US" sz="1600" b="1" dirty="0">
                <a:solidFill>
                  <a:srgbClr val="FF7600"/>
                </a:solidFill>
                <a:latin typeface="Arial"/>
              </a:rPr>
              <a:t> </a:t>
            </a:r>
            <a:r>
              <a:rPr lang="en-US" sz="1600" b="1" dirty="0" err="1">
                <a:solidFill>
                  <a:srgbClr val="FF7600"/>
                </a:solidFill>
                <a:latin typeface="Arial"/>
              </a:rPr>
              <a:t>dostępu</a:t>
            </a:r>
            <a:br>
              <a:rPr kumimoji="0" lang="en-US" sz="1600" b="1" i="0" u="none" strike="noStrike" kern="1200" cap="none" spc="0" normalizeH="0" baseline="0" noProof="0" dirty="0">
                <a:ln>
                  <a:noFill/>
                </a:ln>
                <a:solidFill>
                  <a:srgbClr val="F8981E"/>
                </a:solidFill>
                <a:effectLst/>
                <a:uLnTx/>
                <a:uFillTx/>
                <a:latin typeface="Arial"/>
                <a:ea typeface="+mn-ea"/>
                <a:cs typeface="+mn-cs"/>
              </a:rPr>
            </a:br>
            <a:r>
              <a:rPr lang="en-US" sz="1600" dirty="0">
                <a:solidFill>
                  <a:srgbClr val="000000"/>
                </a:solidFill>
                <a:latin typeface="Arial"/>
              </a:rPr>
              <a:t>z </a:t>
            </a:r>
            <a:r>
              <a:rPr lang="en-US" sz="1600" dirty="0" err="1">
                <a:solidFill>
                  <a:srgbClr val="000000"/>
                </a:solidFill>
                <a:latin typeface="Arial"/>
              </a:rPr>
              <a:t>wykorzystaniem</a:t>
            </a:r>
            <a:r>
              <a:rPr lang="en-US" sz="1600" dirty="0">
                <a:solidFill>
                  <a:srgbClr val="000000"/>
                </a:solidFill>
                <a:latin typeface="Arial"/>
              </a:rPr>
              <a:t> ClearPass Policy Manager</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4B0396BE-D338-4E74-A5C8-429B82B5823A}"/>
              </a:ext>
            </a:extLst>
          </p:cNvPr>
          <p:cNvSpPr txBox="1"/>
          <p:nvPr/>
        </p:nvSpPr>
        <p:spPr>
          <a:xfrm>
            <a:off x="5885993" y="2174106"/>
            <a:ext cx="3055620" cy="830997"/>
          </a:xfrm>
          <a:prstGeom prst="rect">
            <a:avLst/>
          </a:prstGeom>
          <a:noFill/>
        </p:spPr>
        <p:txBody>
          <a:bodyPr wrap="square">
            <a:spAutoFit/>
          </a:bodyPr>
          <a:lstStyle/>
          <a:p>
            <a:pPr marL="0" marR="0" lvl="0" indent="0" algn="l" defTabSz="914318"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err="1">
                <a:ln>
                  <a:noFill/>
                </a:ln>
                <a:solidFill>
                  <a:srgbClr val="FF7600"/>
                </a:solidFill>
                <a:effectLst/>
                <a:uLnTx/>
                <a:uFillTx/>
                <a:latin typeface="Arial"/>
                <a:ea typeface="+mn-ea"/>
                <a:cs typeface="+mn-cs"/>
              </a:rPr>
              <a:t>Redukcja</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ryzyka</a:t>
            </a:r>
            <a:br>
              <a:rPr kumimoji="0" lang="en-US" sz="1600" b="1" i="0" u="none" strike="noStrike" kern="1200" cap="none" spc="0" normalizeH="0" baseline="0" noProof="0" dirty="0">
                <a:ln>
                  <a:noFill/>
                </a:ln>
                <a:solidFill>
                  <a:srgbClr val="FFFFFF"/>
                </a:solidFill>
                <a:effectLst/>
                <a:uLnTx/>
                <a:uFillTx/>
                <a:latin typeface="Arial"/>
                <a:ea typeface="+mn-ea"/>
                <a:cs typeface="+mn-cs"/>
              </a:rPr>
            </a:br>
            <a:r>
              <a:rPr kumimoji="0" lang="en-US" sz="1600" b="0" i="0" u="none" strike="noStrike" kern="1200" cap="none" spc="0" normalizeH="0" baseline="0" noProof="0" dirty="0" err="1">
                <a:ln>
                  <a:noFill/>
                </a:ln>
                <a:solidFill>
                  <a:srgbClr val="000000"/>
                </a:solidFill>
                <a:effectLst/>
                <a:uLnTx/>
                <a:uFillTx/>
                <a:latin typeface="Arial"/>
                <a:ea typeface="+mn-ea"/>
                <a:cs typeface="+mn-cs"/>
              </a:rPr>
              <a:t>dzięki</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profilowaniu</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lang="en-US" sz="1600" dirty="0">
                <a:solidFill>
                  <a:srgbClr val="000000"/>
                </a:solidFill>
                <a:latin typeface="Arial"/>
              </a:rPr>
              <a:t>i</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nadawaniu</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odpowiednich</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uprawnień</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2B55292E-95B0-4584-86C9-A252F5B8424B}"/>
              </a:ext>
            </a:extLst>
          </p:cNvPr>
          <p:cNvSpPr txBox="1"/>
          <p:nvPr/>
        </p:nvSpPr>
        <p:spPr>
          <a:xfrm>
            <a:off x="9202422" y="2225933"/>
            <a:ext cx="2779046" cy="830997"/>
          </a:xfrm>
          <a:prstGeom prst="rect">
            <a:avLst/>
          </a:prstGeom>
          <a:noFill/>
        </p:spPr>
        <p:txBody>
          <a:bodyPr wrap="square">
            <a:spAutoFit/>
          </a:bodyPr>
          <a:lstStyle/>
          <a:p>
            <a:pPr marL="0" marR="0" lvl="0" indent="0" algn="l" defTabSz="914318"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err="1">
                <a:ln>
                  <a:noFill/>
                </a:ln>
                <a:solidFill>
                  <a:srgbClr val="FF7600"/>
                </a:solidFill>
                <a:effectLst/>
                <a:uLnTx/>
                <a:uFillTx/>
                <a:latin typeface="Arial"/>
                <a:ea typeface="+mn-ea"/>
                <a:cs typeface="+mn-cs"/>
              </a:rPr>
              <a:t>Poprawa</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r>
              <a:rPr kumimoji="0" lang="en-US" sz="1600" b="1" i="0" u="none" strike="noStrike" kern="1200" cap="none" spc="0" normalizeH="0" baseline="0" noProof="0" dirty="0" err="1">
                <a:ln>
                  <a:noFill/>
                </a:ln>
                <a:solidFill>
                  <a:srgbClr val="FF7600"/>
                </a:solidFill>
                <a:effectLst/>
                <a:uLnTx/>
                <a:uFillTx/>
                <a:latin typeface="Arial"/>
                <a:ea typeface="+mn-ea"/>
                <a:cs typeface="+mn-cs"/>
              </a:rPr>
              <a:t>widoczności</a:t>
            </a:r>
            <a:r>
              <a:rPr kumimoji="0" lang="en-US" sz="1600" b="1" i="0" u="none" strike="noStrike" kern="1200" cap="none" spc="0" normalizeH="0" baseline="0" noProof="0" dirty="0">
                <a:ln>
                  <a:noFill/>
                </a:ln>
                <a:solidFill>
                  <a:srgbClr val="FF7600"/>
                </a:solidFill>
                <a:effectLst/>
                <a:uLnTx/>
                <a:uFillTx/>
                <a:latin typeface="Arial"/>
                <a:ea typeface="+mn-ea"/>
                <a:cs typeface="+mn-cs"/>
              </a:rPr>
              <a:t> </a:t>
            </a:r>
            <a:br>
              <a:rPr kumimoji="0" lang="pl-PL" sz="1600" b="1" i="0" u="none" strike="noStrike" kern="1200" cap="none" spc="0" normalizeH="0" baseline="0" noProof="0" dirty="0">
                <a:ln>
                  <a:noFill/>
                </a:ln>
                <a:solidFill>
                  <a:srgbClr val="FF7600"/>
                </a:solidFill>
                <a:effectLst/>
                <a:uLnTx/>
                <a:uFillTx/>
                <a:latin typeface="Arial"/>
                <a:ea typeface="+mn-ea"/>
                <a:cs typeface="+mn-cs"/>
              </a:rPr>
            </a:br>
            <a:r>
              <a:rPr kumimoji="0" lang="en-US" sz="1600" b="0" i="0" u="none" strike="noStrike" kern="1200" cap="none" spc="0" normalizeH="0" baseline="0" noProof="0" dirty="0">
                <a:ln>
                  <a:noFill/>
                </a:ln>
                <a:solidFill>
                  <a:srgbClr val="000000"/>
                </a:solidFill>
                <a:effectLst/>
                <a:uLnTx/>
                <a:uFillTx/>
                <a:latin typeface="Arial"/>
                <a:ea typeface="+mn-ea"/>
                <a:cs typeface="+mn-cs"/>
              </a:rPr>
              <a:t>ze </a:t>
            </a:r>
            <a:r>
              <a:rPr kumimoji="0" lang="en-US" sz="1600" b="0" i="0" u="none" strike="noStrike" kern="1200" cap="none" spc="0" normalizeH="0" baseline="0" noProof="0" dirty="0" err="1">
                <a:ln>
                  <a:noFill/>
                </a:ln>
                <a:solidFill>
                  <a:srgbClr val="000000"/>
                </a:solidFill>
                <a:effectLst/>
                <a:uLnTx/>
                <a:uFillTx/>
                <a:latin typeface="Arial"/>
                <a:ea typeface="+mn-ea"/>
                <a:cs typeface="+mn-cs"/>
              </a:rPr>
              <a:t>skanowaniem</a:t>
            </a:r>
            <a:r>
              <a:rPr kumimoji="0" lang="en-US" sz="1600" b="0"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a:ea typeface="+mn-ea"/>
                <a:cs typeface="+mn-cs"/>
              </a:rPr>
              <a:t>podatno</a:t>
            </a:r>
            <a:r>
              <a:rPr kumimoji="0" lang="pl-PL" sz="1600" b="0" i="0" u="none" strike="noStrike" kern="1200" cap="none" spc="0" normalizeH="0" baseline="0" noProof="0" dirty="0">
                <a:ln>
                  <a:noFill/>
                </a:ln>
                <a:solidFill>
                  <a:srgbClr val="000000"/>
                </a:solidFill>
                <a:effectLst/>
                <a:uLnTx/>
                <a:uFillTx/>
                <a:latin typeface="Arial"/>
                <a:ea typeface="+mn-ea"/>
                <a:cs typeface="+mn-cs"/>
              </a:rPr>
              <a:t>ś</a:t>
            </a:r>
            <a:r>
              <a:rPr kumimoji="0" lang="en-US" sz="1600" b="0" i="0" u="none" strike="noStrike" kern="1200" cap="none" spc="0" normalizeH="0" baseline="0" noProof="0" dirty="0">
                <a:ln>
                  <a:noFill/>
                </a:ln>
                <a:solidFill>
                  <a:srgbClr val="000000"/>
                </a:solidFill>
                <a:effectLst/>
                <a:uLnTx/>
                <a:uFillTx/>
                <a:latin typeface="Arial"/>
                <a:ea typeface="+mn-ea"/>
                <a:cs typeface="+mn-cs"/>
              </a:rPr>
              <a:t>ci </a:t>
            </a:r>
            <a:r>
              <a:rPr kumimoji="0" lang="pl-PL" sz="1600" b="0" i="0" u="none" strike="noStrike" kern="1200" cap="none" spc="0" normalizeH="0" baseline="0" noProof="0" dirty="0">
                <a:ln>
                  <a:noFill/>
                </a:ln>
                <a:solidFill>
                  <a:srgbClr val="000000"/>
                </a:solidFill>
                <a:effectLst/>
                <a:uLnTx/>
                <a:uFillTx/>
                <a:latin typeface="Arial"/>
                <a:ea typeface="+mn-ea"/>
                <a:cs typeface="+mn-cs"/>
              </a:rPr>
              <a:t>i </a:t>
            </a:r>
            <a:r>
              <a:rPr kumimoji="0" lang="en-US" sz="1600" b="0" i="0" u="none" strike="noStrike" kern="1200" cap="none" spc="0" normalizeH="0" baseline="0" noProof="0" dirty="0" err="1">
                <a:ln>
                  <a:noFill/>
                </a:ln>
                <a:solidFill>
                  <a:srgbClr val="000000"/>
                </a:solidFill>
                <a:effectLst/>
                <a:uLnTx/>
                <a:uFillTx/>
                <a:latin typeface="Arial"/>
                <a:ea typeface="+mn-ea"/>
                <a:cs typeface="+mn-cs"/>
              </a:rPr>
              <a:t>oc</a:t>
            </a:r>
            <a:r>
              <a:rPr kumimoji="0" lang="pl-PL" sz="1600" b="0" i="0" u="none" strike="noStrike" kern="1200" cap="none" spc="0" normalizeH="0" baseline="0" noProof="0" dirty="0">
                <a:ln>
                  <a:noFill/>
                </a:ln>
                <a:solidFill>
                  <a:srgbClr val="000000"/>
                </a:solidFill>
                <a:effectLst/>
                <a:uLnTx/>
                <a:uFillTx/>
                <a:latin typeface="Arial"/>
                <a:ea typeface="+mn-ea"/>
                <a:cs typeface="+mn-cs"/>
              </a:rPr>
              <a:t>e</a:t>
            </a:r>
            <a:r>
              <a:rPr kumimoji="0" lang="en-US" sz="1600" b="0" i="0" u="none" strike="noStrike" kern="1200" cap="none" spc="0" normalizeH="0" baseline="0" noProof="0" dirty="0">
                <a:ln>
                  <a:noFill/>
                </a:ln>
                <a:solidFill>
                  <a:srgbClr val="000000"/>
                </a:solidFill>
                <a:effectLst/>
                <a:uLnTx/>
                <a:uFillTx/>
                <a:latin typeface="Arial"/>
                <a:ea typeface="+mn-ea"/>
                <a:cs typeface="+mn-cs"/>
              </a:rPr>
              <a:t>n </a:t>
            </a:r>
            <a:r>
              <a:rPr kumimoji="0" lang="en-US" sz="1600" b="0" i="0" u="none" strike="noStrike" kern="1200" cap="none" spc="0" normalizeH="0" baseline="0" noProof="0" dirty="0" err="1">
                <a:ln>
                  <a:noFill/>
                </a:ln>
                <a:solidFill>
                  <a:srgbClr val="000000"/>
                </a:solidFill>
                <a:effectLst/>
                <a:uLnTx/>
                <a:uFillTx/>
                <a:latin typeface="Arial"/>
                <a:ea typeface="+mn-ea"/>
                <a:cs typeface="+mn-cs"/>
              </a:rPr>
              <a:t>ryzyka</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D1CDE930-4CF5-4460-BB57-7241F490DB54}"/>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561967" y="1621002"/>
            <a:ext cx="571750" cy="553105"/>
          </a:xfrm>
          <a:prstGeom prst="rect">
            <a:avLst/>
          </a:prstGeom>
        </p:spPr>
      </p:pic>
      <p:pic>
        <p:nvPicPr>
          <p:cNvPr id="16" name="Picture 15">
            <a:extLst>
              <a:ext uri="{FF2B5EF4-FFF2-40B4-BE49-F238E27FC236}">
                <a16:creationId xmlns:a16="http://schemas.microsoft.com/office/drawing/2014/main" id="{FBB5A6EC-ADDF-4AAD-A475-4776AA9740F2}"/>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9943078" y="1621001"/>
            <a:ext cx="520453" cy="553105"/>
          </a:xfrm>
          <a:prstGeom prst="rect">
            <a:avLst/>
          </a:prstGeom>
        </p:spPr>
      </p:pic>
      <p:pic>
        <p:nvPicPr>
          <p:cNvPr id="17" name="Picture 16">
            <a:extLst>
              <a:ext uri="{FF2B5EF4-FFF2-40B4-BE49-F238E27FC236}">
                <a16:creationId xmlns:a16="http://schemas.microsoft.com/office/drawing/2014/main" id="{72E4A756-8DAE-4B0B-A650-9D393E502C3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030" r="1"/>
          <a:stretch/>
        </p:blipFill>
        <p:spPr>
          <a:xfrm>
            <a:off x="6588889" y="3652259"/>
            <a:ext cx="544828" cy="565114"/>
          </a:xfrm>
          <a:prstGeom prst="rect">
            <a:avLst/>
          </a:prstGeom>
        </p:spPr>
      </p:pic>
      <p:pic>
        <p:nvPicPr>
          <p:cNvPr id="18" name="Picture 17">
            <a:extLst>
              <a:ext uri="{FF2B5EF4-FFF2-40B4-BE49-F238E27FC236}">
                <a16:creationId xmlns:a16="http://schemas.microsoft.com/office/drawing/2014/main" id="{D262AFC2-05EB-410F-BAE7-B578599D0B77}"/>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0191117" y="3652259"/>
            <a:ext cx="544828" cy="540769"/>
          </a:xfrm>
          <a:prstGeom prst="rect">
            <a:avLst/>
          </a:prstGeom>
        </p:spPr>
      </p:pic>
      <p:sp>
        <p:nvSpPr>
          <p:cNvPr id="3" name="Slide Number Placeholder 1">
            <a:extLst>
              <a:ext uri="{FF2B5EF4-FFF2-40B4-BE49-F238E27FC236}">
                <a16:creationId xmlns:a16="http://schemas.microsoft.com/office/drawing/2014/main" id="{DB7FAE9F-56B4-3C1F-905F-67DC7F2A76E8}"/>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8</a:t>
            </a:fld>
            <a:endParaRPr lang="en-US" dirty="0"/>
          </a:p>
        </p:txBody>
      </p:sp>
    </p:spTree>
    <p:extLst>
      <p:ext uri="{BB962C8B-B14F-4D97-AF65-F5344CB8AC3E}">
        <p14:creationId xmlns:p14="http://schemas.microsoft.com/office/powerpoint/2010/main" val="206999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5391FF8-DC41-43D8-BE2F-A57B34C4FA9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a:stretch/>
        </p:blipFill>
        <p:spPr>
          <a:xfrm>
            <a:off x="0" y="0"/>
            <a:ext cx="12192000" cy="685800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1643760" y="688975"/>
            <a:ext cx="8904479" cy="5480050"/>
          </a:xfrm>
        </p:spPr>
        <p:txBody>
          <a:bodyPr/>
          <a:lstStyle/>
          <a:p>
            <a:r>
              <a:rPr lang="en-GB" dirty="0">
                <a:solidFill>
                  <a:schemeClr val="bg1"/>
                </a:solidFill>
              </a:rPr>
              <a:t>Aruba CX 10000</a:t>
            </a:r>
            <a:br>
              <a:rPr lang="en-GB" dirty="0">
                <a:solidFill>
                  <a:schemeClr val="bg1"/>
                </a:solidFill>
              </a:rPr>
            </a:br>
            <a:r>
              <a:rPr lang="en-GB" dirty="0" err="1">
                <a:solidFill>
                  <a:schemeClr val="bg1"/>
                </a:solidFill>
              </a:rPr>
              <a:t>mistrz</a:t>
            </a:r>
            <a:r>
              <a:rPr lang="en-GB" dirty="0">
                <a:solidFill>
                  <a:schemeClr val="bg1"/>
                </a:solidFill>
              </a:rPr>
              <a:t> </a:t>
            </a:r>
            <a:r>
              <a:rPr lang="en-GB" dirty="0" err="1"/>
              <a:t>m</a:t>
            </a:r>
            <a:r>
              <a:rPr lang="en-GB" dirty="0" err="1">
                <a:solidFill>
                  <a:schemeClr val="bg1"/>
                </a:solidFill>
              </a:rPr>
              <a:t>ikrosegmentacji</a:t>
            </a:r>
            <a:endParaRPr lang="en-US" dirty="0"/>
          </a:p>
        </p:txBody>
      </p:sp>
      <p:sp>
        <p:nvSpPr>
          <p:cNvPr id="4" name="Element">
            <a:extLst>
              <a:ext uri="{FF2B5EF4-FFF2-40B4-BE49-F238E27FC236}">
                <a16:creationId xmlns:a16="http://schemas.microsoft.com/office/drawing/2014/main" id="{B4ECC0F1-8088-4BAC-B322-75D55D5633C9}"/>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Tree>
    <p:extLst>
      <p:ext uri="{BB962C8B-B14F-4D97-AF65-F5344CB8AC3E}">
        <p14:creationId xmlns:p14="http://schemas.microsoft.com/office/powerpoint/2010/main" val="242827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EMPLAFYSLIDEID" val="637203022212576394"/>
</p:tagLst>
</file>

<file path=ppt/tags/tag5.xml><?xml version="1.0" encoding="utf-8"?>
<p:tagLst xmlns:a="http://schemas.openxmlformats.org/drawingml/2006/main" xmlns:r="http://schemas.openxmlformats.org/officeDocument/2006/relationships" xmlns:p="http://schemas.openxmlformats.org/presentationml/2006/main">
  <p:tag name="TEMPLAFYSLIDEID" val="637203022212576394"/>
</p:tagLst>
</file>

<file path=ppt/tags/tag6.xml><?xml version="1.0" encoding="utf-8"?>
<p:tagLst xmlns:a="http://schemas.openxmlformats.org/drawingml/2006/main" xmlns:r="http://schemas.openxmlformats.org/officeDocument/2006/relationships" xmlns:p="http://schemas.openxmlformats.org/presentationml/2006/main">
  <p:tag name="TEMPLAFYSLIDEID" val="637203022212576394"/>
</p:tagLst>
</file>

<file path=ppt/tags/tag7.xml><?xml version="1.0" encoding="utf-8"?>
<p:tagLst xmlns:a="http://schemas.openxmlformats.org/drawingml/2006/main" xmlns:r="http://schemas.openxmlformats.org/officeDocument/2006/relationships" xmlns:p="http://schemas.openxmlformats.org/presentationml/2006/main">
  <p:tag name="TEMPLAFYSLIDEID" val="63720124157264906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 Partner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partner-standard-16x9-white-template-1657872149235" id="{1CD9E39D-427C-A948-96C1-E3FD1313A750}" vid="{52F5661C-D5F2-AE44-891A-43CB13D99F08}"/>
    </a:ext>
  </a:extLst>
</a:theme>
</file>

<file path=ppt/theme/theme2.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docProps/app.xml><?xml version="1.0" encoding="utf-8"?>
<Properties xmlns="http://schemas.openxmlformats.org/officeDocument/2006/extended-properties" xmlns:vt="http://schemas.openxmlformats.org/officeDocument/2006/docPropsVTypes">
  <Template>hpe-partner-standard-16x9-white-template-1657872149235-1715112614685</Template>
  <TotalTime>539</TotalTime>
  <Words>2942</Words>
  <Application>Microsoft Macintosh PowerPoint</Application>
  <PresentationFormat>Widescreen</PresentationFormat>
  <Paragraphs>409</Paragraphs>
  <Slides>22</Slides>
  <Notes>19</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5" baseType="lpstr">
      <vt:lpstr>MetricHPE</vt:lpstr>
      <vt:lpstr>Wingdings</vt:lpstr>
      <vt:lpstr>Open Sans ExtraBold</vt:lpstr>
      <vt:lpstr>Avenir</vt:lpstr>
      <vt:lpstr>MetricHPE Light</vt:lpstr>
      <vt:lpstr>Open Sans Light</vt:lpstr>
      <vt:lpstr>Arial</vt:lpstr>
      <vt:lpstr>MetricHPE Black</vt:lpstr>
      <vt:lpstr>Open Sans ExtraBold</vt:lpstr>
      <vt:lpstr>Open Sans</vt:lpstr>
      <vt:lpstr>Calibri</vt:lpstr>
      <vt:lpstr>HPE Partner Standard 16x9 White Template</vt:lpstr>
      <vt:lpstr>think-cell Slide</vt:lpstr>
      <vt:lpstr>Realizacja wymagań technologicznych NIS2  z udziałem rozwiązań bezpieczeństwa  HPE Aruba Networking</vt:lpstr>
      <vt:lpstr>DYREKTYWA PARLAMENTU EUROPEJSKIEGO I RADY (UE) 2022/2555</vt:lpstr>
      <vt:lpstr>Aruba Edge Services Platform</vt:lpstr>
      <vt:lpstr>Aruba ClearPass Policy Manager</vt:lpstr>
      <vt:lpstr>HPE Aruba Networking Zero Trust Security</vt:lpstr>
      <vt:lpstr>Źródła budowania kontekstu</vt:lpstr>
      <vt:lpstr>Utrzymanie komunikacji i separacja ruchu </vt:lpstr>
      <vt:lpstr>Zbieranie danych o urządzeniach (Client Insights)</vt:lpstr>
      <vt:lpstr>Aruba CX 10000 mistrz mikrosegmentacji</vt:lpstr>
      <vt:lpstr>Stateful Fabrics z Aruba CX10000</vt:lpstr>
      <vt:lpstr>Rozwiązania dla data center HPE Aruba Networking</vt:lpstr>
      <vt:lpstr>Magia rozproszonej zapory dla Data Center – jak to działa?</vt:lpstr>
      <vt:lpstr>Architektura usług scentralizowanych</vt:lpstr>
      <vt:lpstr>Architektura usług rozproszonych</vt:lpstr>
      <vt:lpstr>Obsługa zapory sieciowej statefull dla każdej architektury sieci</vt:lpstr>
      <vt:lpstr>Jak skutecznie zabezpieczyć dostęp do danych medycznych z wykorzystaniem rozwiązań zerowego zaufania?</vt:lpstr>
      <vt:lpstr>PowerPoint Presentation</vt:lpstr>
      <vt:lpstr>Podejście HPE Aruba Networking do architektury Zero Trust i SASE</vt:lpstr>
      <vt:lpstr>Połącz się bezpiecznie z każdego miejsca wykorzystując HPE Aruba SSE</vt:lpstr>
      <vt:lpstr>Wgląd w rozwiązanie HPE Aruba Networking SSE</vt:lpstr>
      <vt:lpstr>Zabezpieczamy innowacyjne organizacje na całym świecie</vt:lpstr>
      <vt:lpstr>Dziękujem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sample title slide</dc:title>
  <dc:creator>Kozicki, Marek</dc:creator>
  <cp:lastModifiedBy>Kolodziej, Michal</cp:lastModifiedBy>
  <cp:revision>22</cp:revision>
  <dcterms:created xsi:type="dcterms:W3CDTF">2024-05-28T18:52:46Z</dcterms:created>
  <dcterms:modified xsi:type="dcterms:W3CDTF">2024-06-18T10:00:42Z</dcterms:modified>
</cp:coreProperties>
</file>